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7027" r:id="rId1"/>
  </p:sldMasterIdLst>
  <p:notesMasterIdLst>
    <p:notesMasterId r:id="rId60"/>
  </p:notesMasterIdLst>
  <p:handoutMasterIdLst>
    <p:handoutMasterId r:id="rId61"/>
  </p:handoutMasterIdLst>
  <p:sldIdLst>
    <p:sldId id="348" r:id="rId2"/>
    <p:sldId id="386" r:id="rId3"/>
    <p:sldId id="415" r:id="rId4"/>
    <p:sldId id="452" r:id="rId5"/>
    <p:sldId id="454" r:id="rId6"/>
    <p:sldId id="453" r:id="rId7"/>
    <p:sldId id="416" r:id="rId8"/>
    <p:sldId id="418" r:id="rId9"/>
    <p:sldId id="475" r:id="rId10"/>
    <p:sldId id="468" r:id="rId11"/>
    <p:sldId id="467" r:id="rId12"/>
    <p:sldId id="419" r:id="rId13"/>
    <p:sldId id="420" r:id="rId14"/>
    <p:sldId id="471" r:id="rId15"/>
    <p:sldId id="421" r:id="rId16"/>
    <p:sldId id="422" r:id="rId17"/>
    <p:sldId id="423" r:id="rId18"/>
    <p:sldId id="424" r:id="rId19"/>
    <p:sldId id="476" r:id="rId20"/>
    <p:sldId id="455" r:id="rId21"/>
    <p:sldId id="469" r:id="rId22"/>
    <p:sldId id="456" r:id="rId23"/>
    <p:sldId id="472" r:id="rId24"/>
    <p:sldId id="464" r:id="rId25"/>
    <p:sldId id="431" r:id="rId26"/>
    <p:sldId id="426" r:id="rId27"/>
    <p:sldId id="427" r:id="rId28"/>
    <p:sldId id="457" r:id="rId29"/>
    <p:sldId id="458" r:id="rId30"/>
    <p:sldId id="428" r:id="rId31"/>
    <p:sldId id="466" r:id="rId32"/>
    <p:sldId id="429" r:id="rId33"/>
    <p:sldId id="430" r:id="rId34"/>
    <p:sldId id="432" r:id="rId35"/>
    <p:sldId id="473" r:id="rId36"/>
    <p:sldId id="433" r:id="rId37"/>
    <p:sldId id="459" r:id="rId38"/>
    <p:sldId id="434" r:id="rId39"/>
    <p:sldId id="435" r:id="rId40"/>
    <p:sldId id="436" r:id="rId41"/>
    <p:sldId id="437" r:id="rId42"/>
    <p:sldId id="438" r:id="rId43"/>
    <p:sldId id="474" r:id="rId44"/>
    <p:sldId id="460" r:id="rId45"/>
    <p:sldId id="439" r:id="rId46"/>
    <p:sldId id="440" r:id="rId47"/>
    <p:sldId id="441" r:id="rId48"/>
    <p:sldId id="442" r:id="rId49"/>
    <p:sldId id="443" r:id="rId50"/>
    <p:sldId id="444" r:id="rId51"/>
    <p:sldId id="445" r:id="rId52"/>
    <p:sldId id="446" r:id="rId53"/>
    <p:sldId id="447" r:id="rId54"/>
    <p:sldId id="448" r:id="rId55"/>
    <p:sldId id="463" r:id="rId56"/>
    <p:sldId id="449" r:id="rId57"/>
    <p:sldId id="470" r:id="rId58"/>
    <p:sldId id="451" r:id="rId59"/>
  </p:sldIdLst>
  <p:sldSz cx="9906000" cy="6858000" type="A4"/>
  <p:notesSz cx="7104063" cy="10234613"/>
  <p:custDataLst>
    <p:tags r:id="rId62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 pos="6023">
          <p15:clr>
            <a:srgbClr val="A4A3A4"/>
          </p15:clr>
        </p15:guide>
        <p15:guide id="3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18" userDrawn="1">
          <p15:clr>
            <a:srgbClr val="A4A3A4"/>
          </p15:clr>
        </p15:guide>
        <p15:guide id="3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AMPAGNE Aurelie" initials="CA" lastIdx="1" clrIdx="0"/>
  <p:cmAuthor id="1" name="BERNARDIE Francoise" initials="BF" lastIdx="2" clrIdx="1">
    <p:extLst>
      <p:ext uri="{19B8F6BF-5375-455C-9EA6-DF929625EA0E}">
        <p15:presenceInfo xmlns:p15="http://schemas.microsoft.com/office/powerpoint/2012/main" userId="S-1-5-21-2043104406-512064258-1538882281-744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1F3B73"/>
    <a:srgbClr val="004272"/>
    <a:srgbClr val="FFCCFF"/>
    <a:srgbClr val="FF9933"/>
    <a:srgbClr val="00355C"/>
    <a:srgbClr val="FF3399"/>
    <a:srgbClr val="FF9999"/>
    <a:srgbClr val="FDE9D9"/>
    <a:srgbClr val="F6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82" autoAdjust="0"/>
    <p:restoredTop sz="96305" autoAdjust="0"/>
  </p:normalViewPr>
  <p:slideViewPr>
    <p:cSldViewPr snapToObjects="1">
      <p:cViewPr varScale="1">
        <p:scale>
          <a:sx n="72" d="100"/>
          <a:sy n="72" d="100"/>
        </p:scale>
        <p:origin x="1254" y="66"/>
      </p:cViewPr>
      <p:guideLst>
        <p:guide orient="horz" pos="4319"/>
        <p:guide pos="6023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>
        <p:scale>
          <a:sx n="75" d="100"/>
          <a:sy n="75" d="100"/>
        </p:scale>
        <p:origin x="2184" y="-878"/>
      </p:cViewPr>
      <p:guideLst>
        <p:guide orient="horz" pos="3224"/>
        <p:guide pos="2218"/>
        <p:guide pos="223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handoutMaster" Target="handoutMasters/handout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t" anchorCtr="0" compatLnSpc="1">
            <a:prstTxWarp prst="textNoShape">
              <a:avLst/>
            </a:prstTxWarp>
          </a:bodyPr>
          <a:lstStyle>
            <a:lvl1pPr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3203" y="1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t" anchorCtr="0" compatLnSpc="1">
            <a:prstTxWarp prst="textNoShape">
              <a:avLst/>
            </a:prstTxWarp>
          </a:bodyPr>
          <a:lstStyle>
            <a:lvl1pPr algn="r"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756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b" anchorCtr="0" compatLnSpc="1">
            <a:prstTxWarp prst="textNoShape">
              <a:avLst/>
            </a:prstTxWarp>
          </a:bodyPr>
          <a:lstStyle>
            <a:lvl1pPr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3203" y="9720756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b" anchorCtr="0" compatLnSpc="1">
            <a:prstTxWarp prst="textNoShape">
              <a:avLst/>
            </a:prstTxWarp>
          </a:bodyPr>
          <a:lstStyle>
            <a:lvl1pPr algn="r"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fld id="{4AF47274-7A00-43C0-91BC-2BDD3E62FE6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389584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t" anchorCtr="0" compatLnSpc="1">
            <a:prstTxWarp prst="textNoShape">
              <a:avLst/>
            </a:prstTxWarp>
          </a:bodyPr>
          <a:lstStyle>
            <a:lvl1pPr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3203" y="1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t" anchorCtr="0" compatLnSpc="1">
            <a:prstTxWarp prst="textNoShape">
              <a:avLst/>
            </a:prstTxWarp>
          </a:bodyPr>
          <a:lstStyle>
            <a:lvl1pPr algn="r"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553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1050" y="768350"/>
            <a:ext cx="55419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1735" y="4862018"/>
            <a:ext cx="5680597" cy="4605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756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b" anchorCtr="0" compatLnSpc="1">
            <a:prstTxWarp prst="textNoShape">
              <a:avLst/>
            </a:prstTxWarp>
          </a:bodyPr>
          <a:lstStyle>
            <a:lvl1pPr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3203" y="9720756"/>
            <a:ext cx="3079203" cy="512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0" tIns="47170" rIns="94340" bIns="47170" numCol="1" anchor="b" anchorCtr="0" compatLnSpc="1">
            <a:prstTxWarp prst="textNoShape">
              <a:avLst/>
            </a:prstTxWarp>
          </a:bodyPr>
          <a:lstStyle>
            <a:lvl1pPr algn="r" defTabSz="942943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fld id="{BDCDCA82-32D8-4C6E-A565-DC3A434618E0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867467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5955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881359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020127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613964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74004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319646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80904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41369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4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60550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4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01319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4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33319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48984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4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22094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4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5415494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4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928113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5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244968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29871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96077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64948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4095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033896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302182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51481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20.xml"/><Relationship Id="rId7" Type="http://schemas.openxmlformats.org/officeDocument/2006/relationships/oleObject" Target="../embeddings/oleObject19.bin"/><Relationship Id="rId12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22.xml"/><Relationship Id="rId7" Type="http://schemas.openxmlformats.org/officeDocument/2006/relationships/oleObject" Target="../embeddings/oleObject21.bin"/><Relationship Id="rId12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24.xml"/><Relationship Id="rId7" Type="http://schemas.openxmlformats.org/officeDocument/2006/relationships/oleObject" Target="../embeddings/oleObject23.bin"/><Relationship Id="rId12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26.xml"/><Relationship Id="rId7" Type="http://schemas.openxmlformats.org/officeDocument/2006/relationships/oleObject" Target="../embeddings/oleObject25.bin"/><Relationship Id="rId12" Type="http://schemas.openxmlformats.org/officeDocument/2006/relationships/image" Target="../media/image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28.xml"/><Relationship Id="rId7" Type="http://schemas.openxmlformats.org/officeDocument/2006/relationships/oleObject" Target="../embeddings/oleObject27.bin"/><Relationship Id="rId12" Type="http://schemas.openxmlformats.org/officeDocument/2006/relationships/image" Target="../media/image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30.xml"/><Relationship Id="rId7" Type="http://schemas.openxmlformats.org/officeDocument/2006/relationships/oleObject" Target="../embeddings/oleObject29.bin"/><Relationship Id="rId12" Type="http://schemas.openxmlformats.org/officeDocument/2006/relationships/image" Target="../media/image7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32.xml"/><Relationship Id="rId7" Type="http://schemas.openxmlformats.org/officeDocument/2006/relationships/oleObject" Target="../embeddings/oleObject31.bin"/><Relationship Id="rId12" Type="http://schemas.openxmlformats.org/officeDocument/2006/relationships/image" Target="../media/image7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34.xml"/><Relationship Id="rId7" Type="http://schemas.openxmlformats.org/officeDocument/2006/relationships/oleObject" Target="../embeddings/oleObject33.bin"/><Relationship Id="rId12" Type="http://schemas.openxmlformats.org/officeDocument/2006/relationships/image" Target="../media/image7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Relationship Id="rId14" Type="http://schemas.openxmlformats.org/officeDocument/2006/relationships/image" Target="../media/image10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36.xml"/><Relationship Id="rId7" Type="http://schemas.openxmlformats.org/officeDocument/2006/relationships/oleObject" Target="../embeddings/oleObject35.bin"/><Relationship Id="rId12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34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38.xml"/><Relationship Id="rId7" Type="http://schemas.openxmlformats.org/officeDocument/2006/relationships/oleObject" Target="../embeddings/oleObject37.bin"/><Relationship Id="rId12" Type="http://schemas.openxmlformats.org/officeDocument/2006/relationships/image" Target="../media/image7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6.xml"/><Relationship Id="rId9" Type="http://schemas.openxmlformats.org/officeDocument/2006/relationships/oleObject" Target="../embeddings/oleObject5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40.xml"/><Relationship Id="rId7" Type="http://schemas.openxmlformats.org/officeDocument/2006/relationships/oleObject" Target="../embeddings/oleObject39.bin"/><Relationship Id="rId12" Type="http://schemas.openxmlformats.org/officeDocument/2006/relationships/image" Target="../media/image7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42.xml"/><Relationship Id="rId7" Type="http://schemas.openxmlformats.org/officeDocument/2006/relationships/oleObject" Target="../embeddings/oleObject41.bin"/><Relationship Id="rId12" Type="http://schemas.openxmlformats.org/officeDocument/2006/relationships/image" Target="../media/image7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44.xml"/><Relationship Id="rId7" Type="http://schemas.openxmlformats.org/officeDocument/2006/relationships/oleObject" Target="../embeddings/oleObject43.bin"/><Relationship Id="rId12" Type="http://schemas.openxmlformats.org/officeDocument/2006/relationships/image" Target="../media/image7.png"/><Relationship Id="rId2" Type="http://schemas.openxmlformats.org/officeDocument/2006/relationships/tags" Target="../tags/tag43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2.bin"/><Relationship Id="rId15" Type="http://schemas.openxmlformats.org/officeDocument/2006/relationships/image" Target="../media/image11.png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Relationship Id="rId14" Type="http://schemas.openxmlformats.org/officeDocument/2006/relationships/slide" Target="../slides/slide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46.xml"/><Relationship Id="rId7" Type="http://schemas.openxmlformats.org/officeDocument/2006/relationships/oleObject" Target="../embeddings/oleObject45.bin"/><Relationship Id="rId12" Type="http://schemas.openxmlformats.org/officeDocument/2006/relationships/image" Target="../media/image7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4.bin"/><Relationship Id="rId15" Type="http://schemas.openxmlformats.org/officeDocument/2006/relationships/image" Target="../media/image13.png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Relationship Id="rId14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48.xml"/><Relationship Id="rId7" Type="http://schemas.openxmlformats.org/officeDocument/2006/relationships/oleObject" Target="../embeddings/oleObject47.bin"/><Relationship Id="rId12" Type="http://schemas.openxmlformats.org/officeDocument/2006/relationships/image" Target="../media/image7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50.xml"/><Relationship Id="rId7" Type="http://schemas.openxmlformats.org/officeDocument/2006/relationships/oleObject" Target="../embeddings/oleObject49.bin"/><Relationship Id="rId12" Type="http://schemas.openxmlformats.org/officeDocument/2006/relationships/image" Target="../media/image7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8.bin"/><Relationship Id="rId15" Type="http://schemas.openxmlformats.org/officeDocument/2006/relationships/image" Target="../media/image13.png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Relationship Id="rId14" Type="http://schemas.openxmlformats.org/officeDocument/2006/relationships/image" Target="../media/image11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52.xml"/><Relationship Id="rId7" Type="http://schemas.openxmlformats.org/officeDocument/2006/relationships/oleObject" Target="../embeddings/oleObject51.bin"/><Relationship Id="rId12" Type="http://schemas.openxmlformats.org/officeDocument/2006/relationships/image" Target="../media/image7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54.xml"/><Relationship Id="rId7" Type="http://schemas.openxmlformats.org/officeDocument/2006/relationships/oleObject" Target="../embeddings/oleObject53.bin"/><Relationship Id="rId12" Type="http://schemas.openxmlformats.org/officeDocument/2006/relationships/image" Target="../media/image7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52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56.xml"/><Relationship Id="rId7" Type="http://schemas.openxmlformats.org/officeDocument/2006/relationships/oleObject" Target="../embeddings/oleObject55.bin"/><Relationship Id="rId12" Type="http://schemas.openxmlformats.org/officeDocument/2006/relationships/image" Target="../media/image7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54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58.xml"/><Relationship Id="rId7" Type="http://schemas.openxmlformats.org/officeDocument/2006/relationships/oleObject" Target="../embeddings/oleObject57.bin"/><Relationship Id="rId12" Type="http://schemas.openxmlformats.org/officeDocument/2006/relationships/image" Target="../media/image7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3" Type="http://schemas.openxmlformats.org/officeDocument/2006/relationships/slide" Target="../slides/slide51.xml"/><Relationship Id="rId18" Type="http://schemas.openxmlformats.org/officeDocument/2006/relationships/slide" Target="../slides/slide46.xml"/><Relationship Id="rId26" Type="http://schemas.openxmlformats.org/officeDocument/2006/relationships/slide" Target="../slides/slide29.xml"/><Relationship Id="rId3" Type="http://schemas.openxmlformats.org/officeDocument/2006/relationships/slide" Target="../slides/slide13.xml"/><Relationship Id="rId21" Type="http://schemas.openxmlformats.org/officeDocument/2006/relationships/slide" Target="../slides/slide32.xml"/><Relationship Id="rId34" Type="http://schemas.openxmlformats.org/officeDocument/2006/relationships/slide" Target="../slides/slide47.xml"/><Relationship Id="rId7" Type="http://schemas.openxmlformats.org/officeDocument/2006/relationships/slide" Target="../slides/slide54.xml"/><Relationship Id="rId12" Type="http://schemas.openxmlformats.org/officeDocument/2006/relationships/slide" Target="../slides/slide26.xml"/><Relationship Id="rId17" Type="http://schemas.openxmlformats.org/officeDocument/2006/relationships/slide" Target="../slides/slide17.xml"/><Relationship Id="rId25" Type="http://schemas.openxmlformats.org/officeDocument/2006/relationships/slide" Target="../slides/slide40.xml"/><Relationship Id="rId33" Type="http://schemas.openxmlformats.org/officeDocument/2006/relationships/slide" Target="../slides/slide8.xml"/><Relationship Id="rId2" Type="http://schemas.openxmlformats.org/officeDocument/2006/relationships/slide" Target="../slides/slide33.xml"/><Relationship Id="rId16" Type="http://schemas.openxmlformats.org/officeDocument/2006/relationships/slide" Target="../slides/slide18.xml"/><Relationship Id="rId20" Type="http://schemas.openxmlformats.org/officeDocument/2006/relationships/slide" Target="../slides/slide48.xml"/><Relationship Id="rId29" Type="http://schemas.openxmlformats.org/officeDocument/2006/relationships/slide" Target="../slides/slide24.xml"/><Relationship Id="rId1" Type="http://schemas.openxmlformats.org/officeDocument/2006/relationships/slideMaster" Target="../slideMasters/slideMaster1.xml"/><Relationship Id="rId6" Type="http://schemas.openxmlformats.org/officeDocument/2006/relationships/slide" Target="../slides/slide42.xml"/><Relationship Id="rId11" Type="http://schemas.openxmlformats.org/officeDocument/2006/relationships/slide" Target="../slides/slide36.xml"/><Relationship Id="rId24" Type="http://schemas.openxmlformats.org/officeDocument/2006/relationships/slide" Target="../slides/slide11.xml"/><Relationship Id="rId32" Type="http://schemas.openxmlformats.org/officeDocument/2006/relationships/slide" Target="../slides/slide10.xml"/><Relationship Id="rId5" Type="http://schemas.openxmlformats.org/officeDocument/2006/relationships/slide" Target="../slides/slide15.xml"/><Relationship Id="rId15" Type="http://schemas.openxmlformats.org/officeDocument/2006/relationships/slide" Target="../slides/slide12.xml"/><Relationship Id="rId23" Type="http://schemas.openxmlformats.org/officeDocument/2006/relationships/slide" Target="../slides/slide53.xml"/><Relationship Id="rId28" Type="http://schemas.openxmlformats.org/officeDocument/2006/relationships/slide" Target="../slides/slide38.xml"/><Relationship Id="rId10" Type="http://schemas.openxmlformats.org/officeDocument/2006/relationships/slide" Target="../slides/slide2.xml"/><Relationship Id="rId19" Type="http://schemas.openxmlformats.org/officeDocument/2006/relationships/slide" Target="../slides/slide45.xml"/><Relationship Id="rId31" Type="http://schemas.openxmlformats.org/officeDocument/2006/relationships/slide" Target="../slides/slide30.xml"/><Relationship Id="rId4" Type="http://schemas.openxmlformats.org/officeDocument/2006/relationships/slide" Target="../slides/slide25.xml"/><Relationship Id="rId9" Type="http://schemas.openxmlformats.org/officeDocument/2006/relationships/slide" Target="../slides/slide34.xml"/><Relationship Id="rId14" Type="http://schemas.openxmlformats.org/officeDocument/2006/relationships/slide" Target="../slides/slide52.xml"/><Relationship Id="rId22" Type="http://schemas.openxmlformats.org/officeDocument/2006/relationships/slide" Target="../slides/slide50.xml"/><Relationship Id="rId27" Type="http://schemas.openxmlformats.org/officeDocument/2006/relationships/slide" Target="../slides/slide28.xml"/><Relationship Id="rId30" Type="http://schemas.openxmlformats.org/officeDocument/2006/relationships/slide" Target="../slides/slide27.xml"/><Relationship Id="rId35" Type="http://schemas.openxmlformats.org/officeDocument/2006/relationships/slide" Target="../slides/slide41.xml"/><Relationship Id="rId8" Type="http://schemas.openxmlformats.org/officeDocument/2006/relationships/slide" Target="../slides/slide57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60.xml"/><Relationship Id="rId7" Type="http://schemas.openxmlformats.org/officeDocument/2006/relationships/oleObject" Target="../embeddings/oleObject59.bin"/><Relationship Id="rId12" Type="http://schemas.openxmlformats.org/officeDocument/2006/relationships/image" Target="../media/image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58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62.xml"/><Relationship Id="rId7" Type="http://schemas.openxmlformats.org/officeDocument/2006/relationships/oleObject" Target="../embeddings/oleObject61.bin"/><Relationship Id="rId12" Type="http://schemas.openxmlformats.org/officeDocument/2006/relationships/image" Target="../media/image7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60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64.xml"/><Relationship Id="rId7" Type="http://schemas.openxmlformats.org/officeDocument/2006/relationships/oleObject" Target="../embeddings/oleObject63.bin"/><Relationship Id="rId12" Type="http://schemas.openxmlformats.org/officeDocument/2006/relationships/image" Target="../media/image7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11" Type="http://schemas.openxmlformats.org/officeDocument/2006/relationships/image" Target="../media/image5.jpeg"/><Relationship Id="rId5" Type="http://schemas.openxmlformats.org/officeDocument/2006/relationships/oleObject" Target="../embeddings/oleObject6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66.xml"/><Relationship Id="rId7" Type="http://schemas.openxmlformats.org/officeDocument/2006/relationships/oleObject" Target="../embeddings/oleObject65.bin"/><Relationship Id="rId12" Type="http://schemas.openxmlformats.org/officeDocument/2006/relationships/image" Target="../media/image7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64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68.xml"/><Relationship Id="rId7" Type="http://schemas.openxmlformats.org/officeDocument/2006/relationships/oleObject" Target="../embeddings/oleObject67.bin"/><Relationship Id="rId12" Type="http://schemas.openxmlformats.org/officeDocument/2006/relationships/image" Target="../media/image9.jpeg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6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Relationship Id="rId14" Type="http://schemas.openxmlformats.org/officeDocument/2006/relationships/image" Target="../media/image14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70.xml"/><Relationship Id="rId7" Type="http://schemas.openxmlformats.org/officeDocument/2006/relationships/oleObject" Target="../embeddings/oleObject69.bin"/><Relationship Id="rId12" Type="http://schemas.openxmlformats.org/officeDocument/2006/relationships/image" Target="../media/image9.jpeg"/><Relationship Id="rId2" Type="http://schemas.openxmlformats.org/officeDocument/2006/relationships/tags" Target="../tags/tag6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6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72.xml"/><Relationship Id="rId7" Type="http://schemas.openxmlformats.org/officeDocument/2006/relationships/oleObject" Target="../embeddings/oleObject71.bin"/><Relationship Id="rId12" Type="http://schemas.openxmlformats.org/officeDocument/2006/relationships/image" Target="../media/image9.jpeg"/><Relationship Id="rId2" Type="http://schemas.openxmlformats.org/officeDocument/2006/relationships/tags" Target="../tags/tag7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70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74.xml"/><Relationship Id="rId7" Type="http://schemas.openxmlformats.org/officeDocument/2006/relationships/oleObject" Target="../embeddings/oleObject73.bin"/><Relationship Id="rId12" Type="http://schemas.openxmlformats.org/officeDocument/2006/relationships/image" Target="../media/image9.jpeg"/><Relationship Id="rId2" Type="http://schemas.openxmlformats.org/officeDocument/2006/relationships/tags" Target="../tags/tag7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7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76.xml"/><Relationship Id="rId7" Type="http://schemas.openxmlformats.org/officeDocument/2006/relationships/oleObject" Target="../embeddings/oleObject75.bin"/><Relationship Id="rId12" Type="http://schemas.openxmlformats.org/officeDocument/2006/relationships/image" Target="../media/image9.jpeg"/><Relationship Id="rId2" Type="http://schemas.openxmlformats.org/officeDocument/2006/relationships/tags" Target="../tags/tag7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7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78.xml"/><Relationship Id="rId7" Type="http://schemas.openxmlformats.org/officeDocument/2006/relationships/oleObject" Target="../embeddings/oleObject77.bin"/><Relationship Id="rId12" Type="http://schemas.openxmlformats.org/officeDocument/2006/relationships/image" Target="../media/image9.jpeg"/><Relationship Id="rId2" Type="http://schemas.openxmlformats.org/officeDocument/2006/relationships/tags" Target="../tags/tag77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7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12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80.xml"/><Relationship Id="rId7" Type="http://schemas.openxmlformats.org/officeDocument/2006/relationships/oleObject" Target="../embeddings/oleObject79.bin"/><Relationship Id="rId12" Type="http://schemas.openxmlformats.org/officeDocument/2006/relationships/image" Target="../media/image9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7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82.xml"/><Relationship Id="rId7" Type="http://schemas.openxmlformats.org/officeDocument/2006/relationships/oleObject" Target="../embeddings/oleObject81.bin"/><Relationship Id="rId12" Type="http://schemas.openxmlformats.org/officeDocument/2006/relationships/image" Target="../media/image9.jpeg"/><Relationship Id="rId2" Type="http://schemas.openxmlformats.org/officeDocument/2006/relationships/tags" Target="../tags/tag8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0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84.xml"/><Relationship Id="rId7" Type="http://schemas.openxmlformats.org/officeDocument/2006/relationships/oleObject" Target="../embeddings/oleObject83.bin"/><Relationship Id="rId12" Type="http://schemas.openxmlformats.org/officeDocument/2006/relationships/image" Target="../media/image9.jpeg"/><Relationship Id="rId2" Type="http://schemas.openxmlformats.org/officeDocument/2006/relationships/tags" Target="../tags/tag8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86.xml"/><Relationship Id="rId7" Type="http://schemas.openxmlformats.org/officeDocument/2006/relationships/oleObject" Target="../embeddings/oleObject85.bin"/><Relationship Id="rId12" Type="http://schemas.openxmlformats.org/officeDocument/2006/relationships/image" Target="../media/image9.jpeg"/><Relationship Id="rId2" Type="http://schemas.openxmlformats.org/officeDocument/2006/relationships/tags" Target="../tags/tag8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88.xml"/><Relationship Id="rId7" Type="http://schemas.openxmlformats.org/officeDocument/2006/relationships/oleObject" Target="../embeddings/oleObject87.bin"/><Relationship Id="rId12" Type="http://schemas.openxmlformats.org/officeDocument/2006/relationships/image" Target="../media/image9.jpeg"/><Relationship Id="rId2" Type="http://schemas.openxmlformats.org/officeDocument/2006/relationships/tags" Target="../tags/tag8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90.xml"/><Relationship Id="rId7" Type="http://schemas.openxmlformats.org/officeDocument/2006/relationships/oleObject" Target="../embeddings/oleObject89.bin"/><Relationship Id="rId12" Type="http://schemas.openxmlformats.org/officeDocument/2006/relationships/image" Target="../media/image9.jpeg"/><Relationship Id="rId2" Type="http://schemas.openxmlformats.org/officeDocument/2006/relationships/tags" Target="../tags/tag8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92.xml"/><Relationship Id="rId7" Type="http://schemas.openxmlformats.org/officeDocument/2006/relationships/oleObject" Target="../embeddings/oleObject91.bin"/><Relationship Id="rId12" Type="http://schemas.openxmlformats.org/officeDocument/2006/relationships/image" Target="../media/image9.jpeg"/><Relationship Id="rId2" Type="http://schemas.openxmlformats.org/officeDocument/2006/relationships/tags" Target="../tags/tag9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90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94.xml"/><Relationship Id="rId7" Type="http://schemas.openxmlformats.org/officeDocument/2006/relationships/oleObject" Target="../embeddings/oleObject93.bin"/><Relationship Id="rId12" Type="http://schemas.openxmlformats.org/officeDocument/2006/relationships/image" Target="../media/image9.jpeg"/><Relationship Id="rId2" Type="http://schemas.openxmlformats.org/officeDocument/2006/relationships/tags" Target="../tags/tag9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9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96.xml"/><Relationship Id="rId7" Type="http://schemas.openxmlformats.org/officeDocument/2006/relationships/oleObject" Target="../embeddings/oleObject95.bin"/><Relationship Id="rId12" Type="http://schemas.openxmlformats.org/officeDocument/2006/relationships/image" Target="../media/image9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9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98.xml"/><Relationship Id="rId7" Type="http://schemas.openxmlformats.org/officeDocument/2006/relationships/oleObject" Target="../embeddings/oleObject97.bin"/><Relationship Id="rId12" Type="http://schemas.openxmlformats.org/officeDocument/2006/relationships/image" Target="../media/image9.jpeg"/><Relationship Id="rId2" Type="http://schemas.openxmlformats.org/officeDocument/2006/relationships/tags" Target="../tags/tag9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9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12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100.xml"/><Relationship Id="rId7" Type="http://schemas.openxmlformats.org/officeDocument/2006/relationships/oleObject" Target="../embeddings/oleObject99.bin"/><Relationship Id="rId12" Type="http://schemas.openxmlformats.org/officeDocument/2006/relationships/image" Target="../media/image7.png"/><Relationship Id="rId2" Type="http://schemas.openxmlformats.org/officeDocument/2006/relationships/tags" Target="../tags/tag9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98.bin"/><Relationship Id="rId10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102.xml"/><Relationship Id="rId7" Type="http://schemas.openxmlformats.org/officeDocument/2006/relationships/oleObject" Target="../embeddings/oleObject101.bin"/><Relationship Id="rId12" Type="http://schemas.openxmlformats.org/officeDocument/2006/relationships/image" Target="../media/image7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100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104.xml"/><Relationship Id="rId7" Type="http://schemas.openxmlformats.org/officeDocument/2006/relationships/oleObject" Target="../embeddings/oleObject103.bin"/><Relationship Id="rId12" Type="http://schemas.openxmlformats.org/officeDocument/2006/relationships/image" Target="../media/image9.jpeg"/><Relationship Id="rId2" Type="http://schemas.openxmlformats.org/officeDocument/2006/relationships/tags" Target="../tags/tag10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0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106.xml"/><Relationship Id="rId7" Type="http://schemas.openxmlformats.org/officeDocument/2006/relationships/oleObject" Target="../embeddings/oleObject105.bin"/><Relationship Id="rId12" Type="http://schemas.openxmlformats.org/officeDocument/2006/relationships/image" Target="../media/image9.jpeg"/><Relationship Id="rId2" Type="http://schemas.openxmlformats.org/officeDocument/2006/relationships/tags" Target="../tags/tag10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0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5.jpeg"/><Relationship Id="rId3" Type="http://schemas.openxmlformats.org/officeDocument/2006/relationships/tags" Target="../tags/tag108.xml"/><Relationship Id="rId7" Type="http://schemas.openxmlformats.org/officeDocument/2006/relationships/oleObject" Target="../embeddings/oleObject107.bin"/><Relationship Id="rId12" Type="http://schemas.openxmlformats.org/officeDocument/2006/relationships/image" Target="../media/image9.jpeg"/><Relationship Id="rId2" Type="http://schemas.openxmlformats.org/officeDocument/2006/relationships/tags" Target="../tags/tag10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0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12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6.png"/><Relationship Id="rId3" Type="http://schemas.openxmlformats.org/officeDocument/2006/relationships/tags" Target="../tags/tag16.xml"/><Relationship Id="rId7" Type="http://schemas.openxmlformats.org/officeDocument/2006/relationships/oleObject" Target="../embeddings/oleObject15.bin"/><Relationship Id="rId12" Type="http://schemas.openxmlformats.org/officeDocument/2006/relationships/image" Target="../media/image9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image" Target="../media/image9.jpeg"/><Relationship Id="rId3" Type="http://schemas.openxmlformats.org/officeDocument/2006/relationships/tags" Target="../tags/tag18.xml"/><Relationship Id="rId7" Type="http://schemas.openxmlformats.org/officeDocument/2006/relationships/oleObject" Target="../embeddings/oleObject17.bin"/><Relationship Id="rId12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3520752" y="1125538"/>
            <a:ext cx="5032649" cy="1295400"/>
          </a:xfrm>
          <a:ln/>
        </p:spPr>
        <p:txBody>
          <a:bodyPr/>
          <a:lstStyle>
            <a:lvl1pPr algn="r">
              <a:defRPr sz="24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 altLang="fr-FR" dirty="0"/>
              <a:t>CISIRH</a:t>
            </a:r>
            <a:br>
              <a:rPr lang="fr-FR" altLang="fr-FR" dirty="0"/>
            </a:br>
            <a:r>
              <a:rPr lang="fr-FR" altLang="fr-FR" dirty="0"/>
              <a:t>Bibliothèque des actes</a:t>
            </a:r>
            <a:endParaRPr lang="fr-FR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580467" y="2852738"/>
            <a:ext cx="3972933" cy="1656382"/>
          </a:xfrm>
        </p:spPr>
        <p:txBody>
          <a:bodyPr anchor="ctr"/>
          <a:lstStyle>
            <a:lvl1pPr marL="0" indent="0" algn="r" fontAlgn="auto"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r-FR" sz="1800" i="1" dirty="0">
                <a:solidFill>
                  <a:srgbClr val="004272"/>
                </a:solidFill>
                <a:latin typeface="+mn-lt"/>
                <a:ea typeface="ＭＳ Ｐゴシック"/>
              </a:rPr>
              <a:t>Parcours de l’agent fonctionnaire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fr-FR" sz="1800" i="1" dirty="0">
              <a:solidFill>
                <a:srgbClr val="004272"/>
              </a:solidFill>
              <a:latin typeface="+mn-lt"/>
              <a:ea typeface="ＭＳ Ｐゴシック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r-FR" sz="1800" i="1" dirty="0">
                <a:solidFill>
                  <a:srgbClr val="004272"/>
                </a:solidFill>
                <a:latin typeface="+mn-lt"/>
                <a:ea typeface="ＭＳ Ｐゴシック"/>
              </a:rPr>
              <a:t>Version 21.10.00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fr-FR" sz="1800" i="1" dirty="0">
              <a:solidFill>
                <a:srgbClr val="004272"/>
              </a:solidFill>
              <a:latin typeface="+mn-lt"/>
              <a:ea typeface="ＭＳ Ｐゴシック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r-FR" sz="1800" i="1" dirty="0">
                <a:solidFill>
                  <a:srgbClr val="004272"/>
                </a:solidFill>
                <a:latin typeface="+mn-lt"/>
                <a:ea typeface="ＭＳ Ｐゴシック"/>
              </a:rPr>
              <a:t>01/03/2022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8646000" y="0"/>
            <a:ext cx="1260000" cy="6858000"/>
          </a:xfrm>
          <a:prstGeom prst="rect">
            <a:avLst/>
          </a:prstGeom>
          <a:solidFill>
            <a:srgbClr val="00345C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>
              <a:solidFill>
                <a:srgbClr val="004272"/>
              </a:solidFill>
              <a:latin typeface="Verdana"/>
              <a:cs typeface="ＭＳ Ｐゴシック"/>
            </a:endParaRPr>
          </a:p>
        </p:txBody>
      </p:sp>
      <p:pic>
        <p:nvPicPr>
          <p:cNvPr id="60419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6303" y="5085364"/>
            <a:ext cx="2430000" cy="16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" name="Rectangle 3"/>
          <p:cNvSpPr txBox="1">
            <a:spLocks noChangeArrowheads="1"/>
          </p:cNvSpPr>
          <p:nvPr userDrawn="1"/>
        </p:nvSpPr>
        <p:spPr bwMode="gray">
          <a:xfrm>
            <a:off x="2898966" y="5895364"/>
            <a:ext cx="5117367" cy="629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SzPct val="120000"/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marL="533400" indent="-265113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alibri" pitchFamily="34" charset="0"/>
              <a:buChar char="–"/>
              <a:defRPr sz="16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2pPr>
            <a:lvl3pPr marL="1085850" indent="-361950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ourier New" pitchFamily="49" charset="0"/>
              <a:buChar char="o"/>
              <a:defRPr sz="14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–"/>
              <a:defRPr sz="1200">
                <a:solidFill>
                  <a:srgbClr val="4D4D4D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600" b="1" i="0" dirty="0"/>
              <a:t>C</a:t>
            </a:r>
            <a:r>
              <a:rPr lang="fr-FR" sz="1600" b="0" i="0" dirty="0"/>
              <a:t>entre</a:t>
            </a:r>
            <a:r>
              <a:rPr lang="fr-FR" sz="1600" b="1" i="0" dirty="0"/>
              <a:t> I</a:t>
            </a:r>
            <a:r>
              <a:rPr lang="fr-FR" sz="1600" b="0" i="0" dirty="0"/>
              <a:t>nterministériel de </a:t>
            </a:r>
            <a:r>
              <a:rPr lang="fr-FR" sz="1600" b="1" i="0" dirty="0"/>
              <a:t>S</a:t>
            </a:r>
            <a:r>
              <a:rPr lang="fr-FR" sz="1600" b="0" i="0" dirty="0"/>
              <a:t>ervices </a:t>
            </a:r>
            <a:r>
              <a:rPr lang="fr-FR" sz="1600" b="1" i="0" dirty="0"/>
              <a:t>I</a:t>
            </a:r>
            <a:r>
              <a:rPr lang="fr-FR" sz="1600" b="0" i="0" dirty="0"/>
              <a:t>nformatiques</a:t>
            </a:r>
          </a:p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600" b="1" i="0" baseline="0" dirty="0"/>
              <a:t>r</a:t>
            </a:r>
            <a:r>
              <a:rPr lang="fr-FR" sz="1600" b="0" i="0" baseline="0" dirty="0"/>
              <a:t>elatifs aux </a:t>
            </a:r>
            <a:r>
              <a:rPr lang="fr-FR" sz="1600" b="1" i="0" baseline="0" dirty="0"/>
              <a:t>R</a:t>
            </a:r>
            <a:r>
              <a:rPr lang="fr-FR" sz="1600" b="0" i="0" baseline="0" dirty="0"/>
              <a:t>essources </a:t>
            </a:r>
            <a:r>
              <a:rPr lang="fr-FR" sz="1600" b="1" i="0" baseline="0" dirty="0"/>
              <a:t>H</a:t>
            </a:r>
            <a:r>
              <a:rPr lang="fr-FR" sz="1600" b="0" i="0" baseline="0" dirty="0"/>
              <a:t>umaines</a:t>
            </a:r>
            <a:endParaRPr lang="fr-FR" sz="1600" b="0" i="0" dirty="0"/>
          </a:p>
        </p:txBody>
      </p:sp>
      <p:grpSp>
        <p:nvGrpSpPr>
          <p:cNvPr id="36" name="Groupe 35"/>
          <p:cNvGrpSpPr/>
          <p:nvPr userDrawn="1"/>
        </p:nvGrpSpPr>
        <p:grpSpPr>
          <a:xfrm>
            <a:off x="221718" y="294141"/>
            <a:ext cx="3032787" cy="2924149"/>
            <a:chOff x="5259053" y="2639558"/>
            <a:chExt cx="1709797" cy="1648549"/>
          </a:xfrm>
        </p:grpSpPr>
        <p:sp>
          <p:nvSpPr>
            <p:cNvPr id="37" name="Hexagone 36"/>
            <p:cNvSpPr>
              <a:spLocks noChangeAspect="1"/>
            </p:cNvSpPr>
            <p:nvPr userDrawn="1"/>
          </p:nvSpPr>
          <p:spPr>
            <a:xfrm rot="5400000" flipV="1">
              <a:off x="6094614" y="3713439"/>
              <a:ext cx="611178" cy="538157"/>
            </a:xfrm>
            <a:prstGeom prst="hexagon">
              <a:avLst/>
            </a:prstGeom>
            <a:solidFill>
              <a:srgbClr val="8966FF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8" name="Hexagone 37"/>
            <p:cNvSpPr>
              <a:spLocks noChangeAspect="1"/>
            </p:cNvSpPr>
            <p:nvPr userDrawn="1"/>
          </p:nvSpPr>
          <p:spPr>
            <a:xfrm rot="5400000" flipV="1">
              <a:off x="5222543" y="3177663"/>
              <a:ext cx="611179" cy="538159"/>
            </a:xfrm>
            <a:prstGeom prst="hexagon">
              <a:avLst/>
            </a:prstGeom>
            <a:solidFill>
              <a:srgbClr val="04BAC8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9" name="Hexagone 38"/>
            <p:cNvSpPr>
              <a:spLocks noChangeAspect="1"/>
            </p:cNvSpPr>
            <p:nvPr userDrawn="1"/>
          </p:nvSpPr>
          <p:spPr>
            <a:xfrm rot="5400000" flipV="1">
              <a:off x="6107054" y="2690258"/>
              <a:ext cx="611179" cy="538159"/>
            </a:xfrm>
            <a:prstGeom prst="hexagon">
              <a:avLst/>
            </a:prstGeom>
            <a:solidFill>
              <a:srgbClr val="F14E50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0" name="Hexagone 39"/>
            <p:cNvSpPr>
              <a:spLocks noChangeAspect="1"/>
            </p:cNvSpPr>
            <p:nvPr userDrawn="1"/>
          </p:nvSpPr>
          <p:spPr>
            <a:xfrm rot="5400000" flipV="1">
              <a:off x="5521331" y="2676068"/>
              <a:ext cx="611180" cy="538159"/>
            </a:xfrm>
            <a:prstGeom prst="hexagon">
              <a:avLst/>
            </a:prstGeom>
            <a:solidFill>
              <a:srgbClr val="A3B2D9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1" name="Hexagone 40"/>
            <p:cNvSpPr>
              <a:spLocks noChangeAspect="1"/>
            </p:cNvSpPr>
            <p:nvPr userDrawn="1"/>
          </p:nvSpPr>
          <p:spPr>
            <a:xfrm rot="5400000" flipV="1">
              <a:off x="5515405" y="3698235"/>
              <a:ext cx="611178" cy="538157"/>
            </a:xfrm>
            <a:prstGeom prst="hexagon">
              <a:avLst/>
            </a:prstGeom>
            <a:solidFill>
              <a:srgbClr val="91CF4D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2" name="Hexagone 41"/>
            <p:cNvSpPr>
              <a:spLocks noChangeAspect="1"/>
            </p:cNvSpPr>
            <p:nvPr userDrawn="1"/>
          </p:nvSpPr>
          <p:spPr>
            <a:xfrm rot="5400000" flipV="1">
              <a:off x="5810059" y="3196638"/>
              <a:ext cx="611178" cy="538157"/>
            </a:xfrm>
            <a:prstGeom prst="hexagon">
              <a:avLst/>
            </a:prstGeom>
            <a:solidFill>
              <a:srgbClr val="004272"/>
            </a:solidFill>
            <a:ln w="41275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3" name="Hexagone 42"/>
            <p:cNvSpPr>
              <a:spLocks noChangeAspect="1"/>
            </p:cNvSpPr>
            <p:nvPr userDrawn="1"/>
          </p:nvSpPr>
          <p:spPr>
            <a:xfrm rot="5400000" flipV="1">
              <a:off x="5808265" y="3199088"/>
              <a:ext cx="611178" cy="538157"/>
            </a:xfrm>
            <a:prstGeom prst="hexagon">
              <a:avLst/>
            </a:prstGeom>
            <a:noFill/>
            <a:ln w="22225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pic>
          <p:nvPicPr>
            <p:cNvPr id="72" name="Picture 4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785" y="3323338"/>
              <a:ext cx="378137" cy="246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3" name="Hexagone 72"/>
            <p:cNvSpPr>
              <a:spLocks noChangeAspect="1"/>
            </p:cNvSpPr>
            <p:nvPr userDrawn="1"/>
          </p:nvSpPr>
          <p:spPr>
            <a:xfrm rot="5400000" flipV="1">
              <a:off x="6394183" y="3197039"/>
              <a:ext cx="611178" cy="538157"/>
            </a:xfrm>
            <a:prstGeom prst="hexagon">
              <a:avLst/>
            </a:prstGeom>
            <a:solidFill>
              <a:srgbClr val="F39200"/>
            </a:solidFill>
            <a:ln w="4445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avct échelon chevr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1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46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4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247188" y="6369050"/>
            <a:ext cx="658812" cy="457200"/>
          </a:xfrm>
        </p:spPr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50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83" name="Title 2"/>
          <p:cNvSpPr txBox="1">
            <a:spLocks/>
          </p:cNvSpPr>
          <p:nvPr userDrawn="1"/>
        </p:nvSpPr>
        <p:spPr bwMode="gray">
          <a:xfrm>
            <a:off x="425480" y="260648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’avancement de chevron et de la bonification</a:t>
            </a:r>
          </a:p>
        </p:txBody>
      </p:sp>
      <p:sp>
        <p:nvSpPr>
          <p:cNvPr id="66" name="TextBox 29"/>
          <p:cNvSpPr txBox="1"/>
          <p:nvPr userDrawn="1"/>
        </p:nvSpPr>
        <p:spPr>
          <a:xfrm>
            <a:off x="5970347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67" name="TextBox 65"/>
          <p:cNvSpPr txBox="1"/>
          <p:nvPr userDrawn="1"/>
        </p:nvSpPr>
        <p:spPr>
          <a:xfrm>
            <a:off x="8544723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7226341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88" name="Rectangle 87"/>
          <p:cNvSpPr/>
          <p:nvPr userDrawn="1"/>
        </p:nvSpPr>
        <p:spPr bwMode="auto">
          <a:xfrm>
            <a:off x="8722874" y="1628848"/>
            <a:ext cx="793957" cy="198017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89" name="Rectangle 88"/>
          <p:cNvSpPr/>
          <p:nvPr userDrawn="1"/>
        </p:nvSpPr>
        <p:spPr bwMode="auto">
          <a:xfrm>
            <a:off x="7419074" y="1628801"/>
            <a:ext cx="793957" cy="346758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92" name="Straight Connector 66"/>
          <p:cNvCxnSpPr/>
          <p:nvPr userDrawn="1"/>
        </p:nvCxnSpPr>
        <p:spPr bwMode="auto">
          <a:xfrm>
            <a:off x="7192410" y="1629204"/>
            <a:ext cx="0" cy="38880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68"/>
          <p:cNvCxnSpPr/>
          <p:nvPr userDrawn="1"/>
        </p:nvCxnSpPr>
        <p:spPr bwMode="auto">
          <a:xfrm>
            <a:off x="8448404" y="1623397"/>
            <a:ext cx="0" cy="389383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3" name="Rectangle 62"/>
          <p:cNvSpPr/>
          <p:nvPr userDrawn="1"/>
        </p:nvSpPr>
        <p:spPr bwMode="auto">
          <a:xfrm>
            <a:off x="992560" y="2276936"/>
            <a:ext cx="18002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Avancement de chevron</a:t>
            </a:r>
          </a:p>
        </p:txBody>
      </p:sp>
      <p:sp>
        <p:nvSpPr>
          <p:cNvPr id="64" name="Rectangle 63"/>
          <p:cNvSpPr/>
          <p:nvPr userDrawn="1"/>
        </p:nvSpPr>
        <p:spPr bwMode="auto">
          <a:xfrm>
            <a:off x="3471226" y="2852936"/>
            <a:ext cx="239926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chevron dans un emploi fonctionnel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27</a:t>
            </a:r>
          </a:p>
        </p:txBody>
      </p:sp>
      <p:sp>
        <p:nvSpPr>
          <p:cNvPr id="69" name="Rectangle 68"/>
          <p:cNvSpPr/>
          <p:nvPr userDrawn="1"/>
        </p:nvSpPr>
        <p:spPr bwMode="auto">
          <a:xfrm>
            <a:off x="3471226" y="1772880"/>
            <a:ext cx="239926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chevron dans un corp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26</a:t>
            </a:r>
          </a:p>
        </p:txBody>
      </p:sp>
      <p:cxnSp>
        <p:nvCxnSpPr>
          <p:cNvPr id="8" name="Connecteur droit 7"/>
          <p:cNvCxnSpPr>
            <a:stCxn id="63" idx="3"/>
            <a:endCxn id="69" idx="1"/>
          </p:cNvCxnSpPr>
          <p:nvPr userDrawn="1"/>
        </p:nvCxnSpPr>
        <p:spPr bwMode="auto">
          <a:xfrm flipV="1">
            <a:off x="2792760" y="2060880"/>
            <a:ext cx="678466" cy="50405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Connecteur droit 11"/>
          <p:cNvCxnSpPr>
            <a:stCxn id="63" idx="3"/>
            <a:endCxn id="64" idx="1"/>
          </p:cNvCxnSpPr>
          <p:nvPr userDrawn="1"/>
        </p:nvCxnSpPr>
        <p:spPr bwMode="auto">
          <a:xfrm>
            <a:off x="2792760" y="2564936"/>
            <a:ext cx="678466" cy="57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4" name="Image 4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922" y="6090923"/>
            <a:ext cx="362413" cy="362413"/>
          </a:xfrm>
          <a:prstGeom prst="rect">
            <a:avLst/>
          </a:prstGeom>
        </p:spPr>
      </p:pic>
      <p:sp>
        <p:nvSpPr>
          <p:cNvPr id="45" name="TextBox 58"/>
          <p:cNvSpPr txBox="1"/>
          <p:nvPr userDrawn="1"/>
        </p:nvSpPr>
        <p:spPr>
          <a:xfrm>
            <a:off x="6825208" y="6099103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6" name="Groupe 45"/>
          <p:cNvGrpSpPr/>
          <p:nvPr userDrawn="1"/>
        </p:nvGrpSpPr>
        <p:grpSpPr>
          <a:xfrm>
            <a:off x="6368169" y="6315126"/>
            <a:ext cx="2596066" cy="246222"/>
            <a:chOff x="5727309" y="6347218"/>
            <a:chExt cx="2596066" cy="309782"/>
          </a:xfrm>
        </p:grpSpPr>
        <p:sp>
          <p:nvSpPr>
            <p:cNvPr id="47" name="TextBox 54"/>
            <p:cNvSpPr txBox="1"/>
            <p:nvPr/>
          </p:nvSpPr>
          <p:spPr>
            <a:xfrm>
              <a:off x="5727309" y="6374210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8" name="TextBox 59"/>
            <p:cNvSpPr txBox="1"/>
            <p:nvPr/>
          </p:nvSpPr>
          <p:spPr>
            <a:xfrm>
              <a:off x="6184348" y="6347218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49" name="Groupe 48"/>
          <p:cNvGrpSpPr/>
          <p:nvPr userDrawn="1"/>
        </p:nvGrpSpPr>
        <p:grpSpPr>
          <a:xfrm>
            <a:off x="6482648" y="6532801"/>
            <a:ext cx="2385107" cy="205373"/>
            <a:chOff x="6108241" y="6482036"/>
            <a:chExt cx="2481586" cy="316030"/>
          </a:xfrm>
        </p:grpSpPr>
        <p:pic>
          <p:nvPicPr>
            <p:cNvPr id="5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1" name="TextBox 60"/>
            <p:cNvSpPr txBox="1"/>
            <p:nvPr/>
          </p:nvSpPr>
          <p:spPr>
            <a:xfrm>
              <a:off x="6450800" y="64820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2" name="Rectangle 51"/>
          <p:cNvSpPr/>
          <p:nvPr userDrawn="1"/>
        </p:nvSpPr>
        <p:spPr bwMode="auto">
          <a:xfrm>
            <a:off x="6274206" y="5582236"/>
            <a:ext cx="2854029" cy="1220189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448414" y="590971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Rectangle 59"/>
          <p:cNvSpPr/>
          <p:nvPr userDrawn="1"/>
        </p:nvSpPr>
        <p:spPr bwMode="auto">
          <a:xfrm rot="16200000">
            <a:off x="-1423923" y="3187121"/>
            <a:ext cx="394022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sp>
        <p:nvSpPr>
          <p:cNvPr id="58" name="Rectangle 57"/>
          <p:cNvSpPr/>
          <p:nvPr userDrawn="1"/>
        </p:nvSpPr>
        <p:spPr bwMode="auto">
          <a:xfrm>
            <a:off x="985389" y="4185084"/>
            <a:ext cx="1800200" cy="63686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Attribution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bonification avantage spécifique d’ancienneté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auto">
          <a:xfrm>
            <a:off x="3442368" y="4185084"/>
            <a:ext cx="2399265" cy="63686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ttribution bonification avantage spécifique d’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IND0004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IND0005</a:t>
            </a:r>
          </a:p>
        </p:txBody>
      </p:sp>
      <p:cxnSp>
        <p:nvCxnSpPr>
          <p:cNvPr id="71" name="Connecteur droit 70"/>
          <p:cNvCxnSpPr>
            <a:stCxn id="58" idx="3"/>
            <a:endCxn id="59" idx="1"/>
          </p:cNvCxnSpPr>
          <p:nvPr userDrawn="1"/>
        </p:nvCxnSpPr>
        <p:spPr bwMode="auto">
          <a:xfrm>
            <a:off x="2785589" y="4503515"/>
            <a:ext cx="65677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73" name="Image 72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6809952" y="5878312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2" name="ZoneTexte 61"/>
          <p:cNvSpPr txBox="1"/>
          <p:nvPr userDrawn="1"/>
        </p:nvSpPr>
        <p:spPr>
          <a:xfrm>
            <a:off x="6818548" y="5627549"/>
            <a:ext cx="2042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53" name="TextBox 64"/>
          <p:cNvSpPr txBox="1"/>
          <p:nvPr userDrawn="1"/>
        </p:nvSpPr>
        <p:spPr>
          <a:xfrm>
            <a:off x="6141132" y="537321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157" y="5589240"/>
            <a:ext cx="318039" cy="336260"/>
          </a:xfrm>
          <a:prstGeom prst="rect">
            <a:avLst/>
          </a:prstGeom>
        </p:spPr>
      </p:pic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215" y="4329100"/>
            <a:ext cx="318039" cy="336260"/>
          </a:xfrm>
          <a:prstGeom prst="rect">
            <a:avLst/>
          </a:prstGeom>
        </p:spPr>
      </p:pic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922" y="4310528"/>
            <a:ext cx="318039" cy="336260"/>
          </a:xfrm>
          <a:prstGeom prst="rect">
            <a:avLst/>
          </a:prstGeom>
        </p:spPr>
      </p:pic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156" y="1868898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6502" y="300397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7929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avct gra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’avancement de grade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8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1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46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3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247188" y="6369050"/>
            <a:ext cx="658812" cy="457200"/>
          </a:xfrm>
        </p:spPr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39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0" name="Rectangle 39"/>
          <p:cNvSpPr/>
          <p:nvPr userDrawn="1"/>
        </p:nvSpPr>
        <p:spPr bwMode="auto">
          <a:xfrm>
            <a:off x="992560" y="3116085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Avancement de grade</a:t>
            </a:r>
          </a:p>
        </p:txBody>
      </p:sp>
      <p:sp>
        <p:nvSpPr>
          <p:cNvPr id="65" name="Rectangle 64"/>
          <p:cNvSpPr/>
          <p:nvPr userDrawn="1"/>
        </p:nvSpPr>
        <p:spPr bwMode="auto">
          <a:xfrm>
            <a:off x="2811495" y="209365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grade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ar examen professionnel</a:t>
            </a: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2734565" y="416618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Avancement de grade par concours professionnel</a:t>
            </a:r>
          </a:p>
        </p:txBody>
      </p:sp>
      <p:sp>
        <p:nvSpPr>
          <p:cNvPr id="68" name="Rectangle 67"/>
          <p:cNvSpPr/>
          <p:nvPr userDrawn="1"/>
        </p:nvSpPr>
        <p:spPr bwMode="auto">
          <a:xfrm>
            <a:off x="4772980" y="209365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  <a:r>
              <a:rPr lang="fr-FR" sz="1050" i="1" kern="0" baseline="0" dirty="0" err="1">
                <a:solidFill>
                  <a:srgbClr val="004272"/>
                </a:solidFill>
                <a:latin typeface="+mn-lt"/>
                <a:cs typeface="ＭＳ Ｐゴシック"/>
              </a:rPr>
              <a:t>échelon_échelon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AR0005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69" name="Straight Connector 34"/>
          <p:cNvCxnSpPr>
            <a:stCxn id="40" idx="3"/>
            <a:endCxn id="65" idx="1"/>
          </p:cNvCxnSpPr>
          <p:nvPr userDrawn="1"/>
        </p:nvCxnSpPr>
        <p:spPr bwMode="auto">
          <a:xfrm flipV="1">
            <a:off x="2432560" y="2453653"/>
            <a:ext cx="378935" cy="102243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34"/>
          <p:cNvCxnSpPr>
            <a:stCxn id="40" idx="3"/>
            <a:endCxn id="66" idx="1"/>
          </p:cNvCxnSpPr>
          <p:nvPr userDrawn="1"/>
        </p:nvCxnSpPr>
        <p:spPr bwMode="auto">
          <a:xfrm>
            <a:off x="2432560" y="3476085"/>
            <a:ext cx="302005" cy="105010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34"/>
          <p:cNvCxnSpPr>
            <a:stCxn id="65" idx="3"/>
          </p:cNvCxnSpPr>
          <p:nvPr userDrawn="1"/>
        </p:nvCxnSpPr>
        <p:spPr bwMode="auto">
          <a:xfrm>
            <a:off x="4251495" y="2453653"/>
            <a:ext cx="479034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4817086" y="416618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Avancement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 </a:t>
            </a:r>
            <a:r>
              <a:rPr lang="fr-FR" sz="1050" i="1" kern="0" baseline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échelon_échelon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16</a:t>
            </a:r>
            <a:endParaRPr lang="fr-FR" sz="1050" i="1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cxnSp>
        <p:nvCxnSpPr>
          <p:cNvPr id="75" name="Straight Connector 34"/>
          <p:cNvCxnSpPr>
            <a:stCxn id="66" idx="3"/>
            <a:endCxn id="74" idx="1"/>
          </p:cNvCxnSpPr>
          <p:nvPr userDrawn="1"/>
        </p:nvCxnSpPr>
        <p:spPr bwMode="auto">
          <a:xfrm>
            <a:off x="4174565" y="4526186"/>
            <a:ext cx="642521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TextBox 29"/>
          <p:cNvSpPr txBox="1"/>
          <p:nvPr userDrawn="1"/>
        </p:nvSpPr>
        <p:spPr>
          <a:xfrm>
            <a:off x="6033120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80" name="TextBox 65"/>
          <p:cNvSpPr txBox="1"/>
          <p:nvPr userDrawn="1"/>
        </p:nvSpPr>
        <p:spPr>
          <a:xfrm>
            <a:off x="8521794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81" name="TextBox 69"/>
          <p:cNvSpPr txBox="1"/>
          <p:nvPr userDrawn="1"/>
        </p:nvSpPr>
        <p:spPr>
          <a:xfrm>
            <a:off x="7203412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13" name="Rectangle 112"/>
          <p:cNvSpPr/>
          <p:nvPr userDrawn="1"/>
        </p:nvSpPr>
        <p:spPr bwMode="auto">
          <a:xfrm>
            <a:off x="8699945" y="1466383"/>
            <a:ext cx="793957" cy="388838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14" name="Rectangle 113"/>
          <p:cNvSpPr/>
          <p:nvPr userDrawn="1"/>
        </p:nvSpPr>
        <p:spPr bwMode="auto">
          <a:xfrm>
            <a:off x="7396145" y="1466336"/>
            <a:ext cx="793957" cy="3892768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48" name="Straight Connector 66"/>
          <p:cNvCxnSpPr/>
          <p:nvPr userDrawn="1"/>
        </p:nvCxnSpPr>
        <p:spPr bwMode="auto">
          <a:xfrm>
            <a:off x="7169481" y="1466739"/>
            <a:ext cx="0" cy="38880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Straight Connector 68"/>
          <p:cNvCxnSpPr/>
          <p:nvPr userDrawn="1"/>
        </p:nvCxnSpPr>
        <p:spPr bwMode="auto">
          <a:xfrm>
            <a:off x="8425475" y="1460932"/>
            <a:ext cx="60391" cy="39667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58" name="Groupe 57"/>
          <p:cNvGrpSpPr/>
          <p:nvPr userDrawn="1"/>
        </p:nvGrpSpPr>
        <p:grpSpPr>
          <a:xfrm>
            <a:off x="6544445" y="6293167"/>
            <a:ext cx="2649387" cy="272288"/>
            <a:chOff x="5719035" y="6231640"/>
            <a:chExt cx="2649387" cy="342577"/>
          </a:xfrm>
        </p:grpSpPr>
        <p:sp>
          <p:nvSpPr>
            <p:cNvPr id="5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3" name="Rectangle 52"/>
          <p:cNvSpPr/>
          <p:nvPr userDrawn="1"/>
        </p:nvSpPr>
        <p:spPr bwMode="auto">
          <a:xfrm rot="16200000">
            <a:off x="-1409734" y="3035134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90" name="Image 8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54" name="TextBox 58"/>
          <p:cNvSpPr txBox="1"/>
          <p:nvPr userDrawn="1"/>
        </p:nvSpPr>
        <p:spPr>
          <a:xfrm>
            <a:off x="7080713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510" y="6065484"/>
            <a:ext cx="362413" cy="362413"/>
          </a:xfrm>
          <a:prstGeom prst="rect">
            <a:avLst/>
          </a:prstGeom>
        </p:spPr>
      </p:pic>
      <p:sp>
        <p:nvSpPr>
          <p:cNvPr id="86" name="TextBox 58"/>
          <p:cNvSpPr txBox="1"/>
          <p:nvPr userDrawn="1"/>
        </p:nvSpPr>
        <p:spPr>
          <a:xfrm>
            <a:off x="7080713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7" name="Groupe 86"/>
          <p:cNvGrpSpPr/>
          <p:nvPr userDrawn="1"/>
        </p:nvGrpSpPr>
        <p:grpSpPr>
          <a:xfrm>
            <a:off x="6671236" y="6531151"/>
            <a:ext cx="2538714" cy="246221"/>
            <a:chOff x="6108241" y="6486136"/>
            <a:chExt cx="2538714" cy="316030"/>
          </a:xfrm>
        </p:grpSpPr>
        <p:pic>
          <p:nvPicPr>
            <p:cNvPr id="9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6" name="Rectangle 95"/>
          <p:cNvSpPr/>
          <p:nvPr userDrawn="1"/>
        </p:nvSpPr>
        <p:spPr bwMode="auto">
          <a:xfrm>
            <a:off x="6393160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7" name="TextBox 64"/>
          <p:cNvSpPr txBox="1"/>
          <p:nvPr userDrawn="1"/>
        </p:nvSpPr>
        <p:spPr>
          <a:xfrm>
            <a:off x="6321152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37002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9" name="ZoneTexte 98"/>
          <p:cNvSpPr txBox="1"/>
          <p:nvPr userDrawn="1"/>
        </p:nvSpPr>
        <p:spPr>
          <a:xfrm>
            <a:off x="7052998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00" name="Image 9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3022" y="5526231"/>
            <a:ext cx="318039" cy="336260"/>
          </a:xfrm>
          <a:prstGeom prst="rect">
            <a:avLst/>
          </a:prstGeom>
        </p:spPr>
      </p:pic>
      <p:pic>
        <p:nvPicPr>
          <p:cNvPr id="102" name="Image 10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4809" y="2276229"/>
            <a:ext cx="318039" cy="336260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3070" y="4345335"/>
            <a:ext cx="318039" cy="336260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auto">
          <a:xfrm>
            <a:off x="4502138" y="3101136"/>
            <a:ext cx="17468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grade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et classement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14 (individuel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32 (collectif)</a:t>
            </a:r>
          </a:p>
        </p:txBody>
      </p:sp>
      <p:cxnSp>
        <p:nvCxnSpPr>
          <p:cNvPr id="45" name="Straight Connector 34"/>
          <p:cNvCxnSpPr>
            <a:endCxn id="44" idx="1"/>
          </p:cNvCxnSpPr>
          <p:nvPr userDrawn="1"/>
        </p:nvCxnSpPr>
        <p:spPr bwMode="auto">
          <a:xfrm flipV="1">
            <a:off x="2448708" y="3461136"/>
            <a:ext cx="2053430" cy="1495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8" name="Image 4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3070" y="3333711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080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promo cor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promotion de corps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0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1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46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3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247188" y="6369050"/>
            <a:ext cx="658812" cy="457200"/>
          </a:xfrm>
        </p:spPr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39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0" name="Rectangle 39"/>
          <p:cNvSpPr/>
          <p:nvPr userDrawn="1"/>
        </p:nvSpPr>
        <p:spPr bwMode="auto">
          <a:xfrm>
            <a:off x="1238978" y="3501088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Avancement de corps</a:t>
            </a:r>
          </a:p>
        </p:txBody>
      </p:sp>
      <p:sp>
        <p:nvSpPr>
          <p:cNvPr id="65" name="Rectangle 64"/>
          <p:cNvSpPr/>
          <p:nvPr userDrawn="1"/>
        </p:nvSpPr>
        <p:spPr bwMode="auto">
          <a:xfrm>
            <a:off x="3480439" y="4077152"/>
            <a:ext cx="246554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corps par LA (liste d’aptitude) stagiair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01</a:t>
            </a:r>
          </a:p>
        </p:txBody>
      </p:sp>
      <p:cxnSp>
        <p:nvCxnSpPr>
          <p:cNvPr id="69" name="Straight Connector 34"/>
          <p:cNvCxnSpPr>
            <a:stCxn id="40" idx="3"/>
            <a:endCxn id="65" idx="1"/>
          </p:cNvCxnSpPr>
          <p:nvPr userDrawn="1"/>
        </p:nvCxnSpPr>
        <p:spPr bwMode="auto">
          <a:xfrm>
            <a:off x="2678978" y="3861088"/>
            <a:ext cx="801461" cy="57606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TextBox 29"/>
          <p:cNvSpPr txBox="1"/>
          <p:nvPr userDrawn="1"/>
        </p:nvSpPr>
        <p:spPr>
          <a:xfrm>
            <a:off x="5947418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80" name="TextBox 65"/>
          <p:cNvSpPr txBox="1"/>
          <p:nvPr userDrawn="1"/>
        </p:nvSpPr>
        <p:spPr>
          <a:xfrm>
            <a:off x="8521794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81" name="TextBox 69"/>
          <p:cNvSpPr txBox="1"/>
          <p:nvPr userDrawn="1"/>
        </p:nvSpPr>
        <p:spPr>
          <a:xfrm>
            <a:off x="7203412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13" name="Rectangle 112"/>
          <p:cNvSpPr/>
          <p:nvPr userDrawn="1"/>
        </p:nvSpPr>
        <p:spPr bwMode="auto">
          <a:xfrm>
            <a:off x="8699945" y="1466383"/>
            <a:ext cx="793957" cy="388838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14" name="Rectangle 113"/>
          <p:cNvSpPr/>
          <p:nvPr userDrawn="1"/>
        </p:nvSpPr>
        <p:spPr bwMode="auto">
          <a:xfrm>
            <a:off x="7396145" y="1466336"/>
            <a:ext cx="793957" cy="388843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48" name="Straight Connector 66"/>
          <p:cNvCxnSpPr/>
          <p:nvPr userDrawn="1"/>
        </p:nvCxnSpPr>
        <p:spPr bwMode="auto">
          <a:xfrm>
            <a:off x="7169481" y="1466739"/>
            <a:ext cx="0" cy="38880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Straight Connector 68"/>
          <p:cNvCxnSpPr/>
          <p:nvPr userDrawn="1"/>
        </p:nvCxnSpPr>
        <p:spPr bwMode="auto">
          <a:xfrm>
            <a:off x="8461403" y="1460932"/>
            <a:ext cx="0" cy="389383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ectangle 35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35" name="Image 34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2" name="Groupe 41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43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4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45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46" name="Image 45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47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4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1" name="Rectangle 50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2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53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ZoneTexte 53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6" name="Image 6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656" y="4257092"/>
            <a:ext cx="318039" cy="336260"/>
          </a:xfrm>
          <a:prstGeom prst="rect">
            <a:avLst/>
          </a:prstGeom>
        </p:spPr>
      </p:pic>
      <p:sp>
        <p:nvSpPr>
          <p:cNvPr id="41" name="Rectangle 40"/>
          <p:cNvSpPr/>
          <p:nvPr userDrawn="1"/>
        </p:nvSpPr>
        <p:spPr bwMode="auto">
          <a:xfrm>
            <a:off x="3476836" y="2961028"/>
            <a:ext cx="246554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corps par LA (liste d’aptitude) titulair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25</a:t>
            </a:r>
          </a:p>
        </p:txBody>
      </p:sp>
      <p:cxnSp>
        <p:nvCxnSpPr>
          <p:cNvPr id="55" name="Straight Connector 34"/>
          <p:cNvCxnSpPr>
            <a:stCxn id="40" idx="3"/>
            <a:endCxn id="41" idx="1"/>
          </p:cNvCxnSpPr>
          <p:nvPr userDrawn="1"/>
        </p:nvCxnSpPr>
        <p:spPr bwMode="auto">
          <a:xfrm flipV="1">
            <a:off x="2678978" y="3321028"/>
            <a:ext cx="797858" cy="54006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995" y="3092740"/>
            <a:ext cx="318039" cy="336260"/>
          </a:xfrm>
          <a:prstGeom prst="rect">
            <a:avLst/>
          </a:prstGeom>
        </p:spPr>
      </p:pic>
      <p:sp>
        <p:nvSpPr>
          <p:cNvPr id="58" name="Rectangle 57"/>
          <p:cNvSpPr/>
          <p:nvPr userDrawn="1"/>
        </p:nvSpPr>
        <p:spPr bwMode="auto">
          <a:xfrm>
            <a:off x="1238978" y="1800070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Nomination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dans un c</a:t>
            </a:r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orps</a:t>
            </a:r>
          </a:p>
        </p:txBody>
      </p:sp>
      <p:sp>
        <p:nvSpPr>
          <p:cNvPr id="59" name="Rectangle 58"/>
          <p:cNvSpPr/>
          <p:nvPr userDrawn="1"/>
        </p:nvSpPr>
        <p:spPr bwMode="auto">
          <a:xfrm>
            <a:off x="3476836" y="1808900"/>
            <a:ext cx="246554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Nomination et classement titulair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04 (individuel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34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(collectif)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61" name="Straight Connector 34"/>
          <p:cNvCxnSpPr>
            <a:endCxn id="59" idx="1"/>
          </p:cNvCxnSpPr>
          <p:nvPr userDrawn="1"/>
        </p:nvCxnSpPr>
        <p:spPr bwMode="auto">
          <a:xfrm>
            <a:off x="2682581" y="2168900"/>
            <a:ext cx="794255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326" y="2014383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3475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hgt affec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112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14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15" name="Rectangle 114"/>
          <p:cNvSpPr/>
          <p:nvPr userDrawn="1"/>
        </p:nvSpPr>
        <p:spPr bwMode="auto">
          <a:xfrm>
            <a:off x="1176978" y="352385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hangement d’affectation</a:t>
            </a:r>
          </a:p>
          <a:p>
            <a:pPr algn="ctr"/>
            <a:r>
              <a:rPr lang="fr-FR" sz="800" b="0" i="1" kern="0" dirty="0">
                <a:solidFill>
                  <a:srgbClr val="004272"/>
                </a:solidFill>
                <a:latin typeface="+mn-lt"/>
                <a:cs typeface="ＭＳ Ｐゴシック"/>
              </a:rPr>
              <a:t>(sans</a:t>
            </a:r>
            <a:r>
              <a:rPr lang="fr-FR" sz="800" b="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changement de prise en charge financière)</a:t>
            </a:r>
            <a:endParaRPr lang="fr-FR" sz="800" b="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6" name="Rectangle 115"/>
          <p:cNvSpPr/>
          <p:nvPr userDrawn="1"/>
        </p:nvSpPr>
        <p:spPr bwMode="auto">
          <a:xfrm>
            <a:off x="4632524" y="1629319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Avec changement de résidence (métropole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ORG0003</a:t>
            </a:r>
          </a:p>
        </p:txBody>
      </p:sp>
      <p:cxnSp>
        <p:nvCxnSpPr>
          <p:cNvPr id="117" name="Straight Connector 18"/>
          <p:cNvCxnSpPr>
            <a:stCxn id="125" idx="3"/>
            <a:endCxn id="116" idx="1"/>
          </p:cNvCxnSpPr>
          <p:nvPr userDrawn="1"/>
        </p:nvCxnSpPr>
        <p:spPr bwMode="auto">
          <a:xfrm flipV="1">
            <a:off x="4272524" y="1989319"/>
            <a:ext cx="360000" cy="86365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Straight Connector 23"/>
          <p:cNvCxnSpPr>
            <a:stCxn id="125" idx="3"/>
            <a:endCxn id="120" idx="1"/>
          </p:cNvCxnSpPr>
          <p:nvPr userDrawn="1"/>
        </p:nvCxnSpPr>
        <p:spPr bwMode="auto">
          <a:xfrm>
            <a:off x="4272524" y="2852976"/>
            <a:ext cx="360000" cy="89962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9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0" name="Rectangle 119"/>
          <p:cNvSpPr/>
          <p:nvPr userDrawn="1"/>
        </p:nvSpPr>
        <p:spPr bwMode="auto">
          <a:xfrm>
            <a:off x="4632524" y="339260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changement de résidenc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ORG0001</a:t>
            </a:r>
          </a:p>
        </p:txBody>
      </p:sp>
      <p:sp>
        <p:nvSpPr>
          <p:cNvPr id="121" name="Rectangle 120"/>
          <p:cNvSpPr/>
          <p:nvPr userDrawn="1"/>
        </p:nvSpPr>
        <p:spPr bwMode="auto">
          <a:xfrm>
            <a:off x="4632524" y="2492968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ec changement de résidence (hors métropole)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ORG0002</a:t>
            </a:r>
          </a:p>
        </p:txBody>
      </p:sp>
      <p:cxnSp>
        <p:nvCxnSpPr>
          <p:cNvPr id="122" name="Straight Connector 40"/>
          <p:cNvCxnSpPr>
            <a:stCxn id="125" idx="3"/>
            <a:endCxn id="121" idx="1"/>
          </p:cNvCxnSpPr>
          <p:nvPr userDrawn="1"/>
        </p:nvCxnSpPr>
        <p:spPr bwMode="auto">
          <a:xfrm flipV="1">
            <a:off x="4272524" y="2852968"/>
            <a:ext cx="360000" cy="8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3" name="Rectangle 122"/>
          <p:cNvSpPr/>
          <p:nvPr userDrawn="1"/>
        </p:nvSpPr>
        <p:spPr bwMode="auto">
          <a:xfrm>
            <a:off x="2832524" y="4554729"/>
            <a:ext cx="32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et affectation avec changement de l’autorité de gestion (exemple des attachés d’administration centrale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ORG0004</a:t>
            </a:r>
          </a:p>
        </p:txBody>
      </p:sp>
      <p:cxnSp>
        <p:nvCxnSpPr>
          <p:cNvPr id="124" name="Straight Connector 52"/>
          <p:cNvCxnSpPr>
            <a:stCxn id="115" idx="3"/>
            <a:endCxn id="123" idx="1"/>
          </p:cNvCxnSpPr>
          <p:nvPr userDrawn="1"/>
        </p:nvCxnSpPr>
        <p:spPr bwMode="auto">
          <a:xfrm>
            <a:off x="2616978" y="3883853"/>
            <a:ext cx="215546" cy="103087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5" name="Rectangle 124"/>
          <p:cNvSpPr/>
          <p:nvPr userDrawn="1"/>
        </p:nvSpPr>
        <p:spPr bwMode="auto">
          <a:xfrm>
            <a:off x="2832524" y="249297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et affectation sans changement d’autorité de gestion</a:t>
            </a:r>
          </a:p>
        </p:txBody>
      </p:sp>
      <p:cxnSp>
        <p:nvCxnSpPr>
          <p:cNvPr id="126" name="Straight Connector 34"/>
          <p:cNvCxnSpPr>
            <a:stCxn id="115" idx="3"/>
            <a:endCxn id="125" idx="1"/>
          </p:cNvCxnSpPr>
          <p:nvPr userDrawn="1"/>
        </p:nvCxnSpPr>
        <p:spPr bwMode="auto">
          <a:xfrm flipV="1">
            <a:off x="2616978" y="2852976"/>
            <a:ext cx="215546" cy="103087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7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cxnSp>
        <p:nvCxnSpPr>
          <p:cNvPr id="128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9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30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8735949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7432149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4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355C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Calibri" pitchFamily="34" charset="0"/>
              </a:rPr>
              <a:t>Détail des événements </a:t>
            </a:r>
            <a:b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0355C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Calibri" pitchFamily="34" charset="0"/>
              </a:rPr>
            </a:b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0355C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Calibri" pitchFamily="34" charset="0"/>
              </a:rPr>
              <a:t>Processus - Gestion des changements d’affectation / mutations</a:t>
            </a:r>
          </a:p>
        </p:txBody>
      </p:sp>
      <p:sp>
        <p:nvSpPr>
          <p:cNvPr id="61" name="Rectangle 60"/>
          <p:cNvSpPr/>
          <p:nvPr userDrawn="1"/>
        </p:nvSpPr>
        <p:spPr bwMode="auto">
          <a:xfrm rot="16200000">
            <a:off x="-1313493" y="3077324"/>
            <a:ext cx="36441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ffectations</a:t>
            </a:r>
          </a:p>
        </p:txBody>
      </p:sp>
      <p:pic>
        <p:nvPicPr>
          <p:cNvPr id="57" name="Image 56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8" name="Groupe 5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6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8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9" name="Groupe 68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1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2" name="Rectangle 71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3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" name="ZoneTexte 74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6" name="Image 7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52" name="Image 5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3706" y="3592902"/>
            <a:ext cx="318039" cy="336260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164" y="4725144"/>
            <a:ext cx="318039" cy="336260"/>
          </a:xfrm>
          <a:prstGeom prst="rect">
            <a:avLst/>
          </a:prstGeom>
        </p:spPr>
      </p:pic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164" y="2672916"/>
            <a:ext cx="318039" cy="336260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164" y="1808820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589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temps partiel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EB265450-1E8F-49D0-B515-BC54CC1A08BA}"/>
              </a:ext>
            </a:extLst>
          </p:cNvPr>
          <p:cNvSpPr/>
          <p:nvPr userDrawn="1"/>
        </p:nvSpPr>
        <p:spPr bwMode="auto">
          <a:xfrm>
            <a:off x="6691329" y="2288855"/>
            <a:ext cx="163609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9BACC4E-2034-4FA0-9168-B551BF91DD02}"/>
              </a:ext>
            </a:extLst>
          </p:cNvPr>
          <p:cNvSpPr/>
          <p:nvPr userDrawn="1"/>
        </p:nvSpPr>
        <p:spPr bwMode="auto">
          <a:xfrm>
            <a:off x="6700033" y="3715919"/>
            <a:ext cx="163609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0" name="Straight Connector 66"/>
          <p:cNvCxnSpPr/>
          <p:nvPr userDrawn="1"/>
        </p:nvCxnSpPr>
        <p:spPr bwMode="auto">
          <a:xfrm flipH="1">
            <a:off x="7224522" y="1529706"/>
            <a:ext cx="22415" cy="36440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1/6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992560" y="2743280"/>
            <a:ext cx="1440000" cy="111783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4799058" y="2276936"/>
            <a:ext cx="163609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ite à maternité / paternité / adoption (T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02</a:t>
            </a:r>
          </a:p>
        </p:txBody>
      </p:sp>
      <p:cxnSp>
        <p:nvCxnSpPr>
          <p:cNvPr id="76" name="Straight Connector 40"/>
          <p:cNvCxnSpPr>
            <a:stCxn id="78" idx="3"/>
            <a:endCxn id="75" idx="1"/>
          </p:cNvCxnSpPr>
          <p:nvPr userDrawn="1"/>
        </p:nvCxnSpPr>
        <p:spPr bwMode="auto">
          <a:xfrm flipV="1">
            <a:off x="4268924" y="2564936"/>
            <a:ext cx="530134" cy="73726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2828924" y="3014196"/>
            <a:ext cx="1440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droit</a:t>
            </a:r>
          </a:p>
        </p:txBody>
      </p:sp>
      <p:cxnSp>
        <p:nvCxnSpPr>
          <p:cNvPr id="79" name="Straight Connector 34"/>
          <p:cNvCxnSpPr>
            <a:stCxn id="43" idx="3"/>
            <a:endCxn id="78" idx="1"/>
          </p:cNvCxnSpPr>
          <p:nvPr userDrawn="1"/>
        </p:nvCxnSpPr>
        <p:spPr bwMode="auto">
          <a:xfrm>
            <a:off x="2432560" y="3302196"/>
            <a:ext cx="396364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TextBox 29"/>
          <p:cNvSpPr txBox="1"/>
          <p:nvPr userDrawn="1"/>
        </p:nvSpPr>
        <p:spPr>
          <a:xfrm>
            <a:off x="6102771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625081" y="1048670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09987" y="1075072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536301" y="1505506"/>
            <a:ext cx="0" cy="36682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80"/>
          <p:cNvSpPr/>
          <p:nvPr userDrawn="1"/>
        </p:nvSpPr>
        <p:spPr bwMode="auto">
          <a:xfrm>
            <a:off x="8786436" y="1488819"/>
            <a:ext cx="759600" cy="366536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6" name="Rectangle 55"/>
          <p:cNvSpPr/>
          <p:nvPr userDrawn="1"/>
        </p:nvSpPr>
        <p:spPr bwMode="auto">
          <a:xfrm rot="16200000">
            <a:off x="-1409734" y="3087794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pic>
        <p:nvPicPr>
          <p:cNvPr id="70" name="Image 6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71" name="Groupe 70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7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7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8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4" name="Groupe 8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7" name="Rectangle 8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" name="ZoneTexte 8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1" name="Image 9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94" name="Image 9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6709" y="2406374"/>
            <a:ext cx="318039" cy="336260"/>
          </a:xfrm>
          <a:prstGeom prst="rect">
            <a:avLst/>
          </a:prstGeom>
        </p:spPr>
      </p:pic>
      <p:sp>
        <p:nvSpPr>
          <p:cNvPr id="50" name="Rectangle 49"/>
          <p:cNvSpPr/>
          <p:nvPr userDrawn="1"/>
        </p:nvSpPr>
        <p:spPr bwMode="auto">
          <a:xfrm>
            <a:off x="4770560" y="3717096"/>
            <a:ext cx="163609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ite à maternité / paternité / adoption (S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39</a:t>
            </a:r>
          </a:p>
        </p:txBody>
      </p:sp>
      <p:cxnSp>
        <p:nvCxnSpPr>
          <p:cNvPr id="51" name="Straight Connector 40"/>
          <p:cNvCxnSpPr>
            <a:stCxn id="78" idx="3"/>
            <a:endCxn id="50" idx="1"/>
          </p:cNvCxnSpPr>
          <p:nvPr userDrawn="1"/>
        </p:nvCxnSpPr>
        <p:spPr bwMode="auto">
          <a:xfrm>
            <a:off x="4268924" y="3302196"/>
            <a:ext cx="501636" cy="7029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7917" y="380536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6007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temps partiel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A064B313-47E4-4F98-B0AF-397C9D538804}"/>
              </a:ext>
            </a:extLst>
          </p:cNvPr>
          <p:cNvSpPr/>
          <p:nvPr userDrawn="1"/>
        </p:nvSpPr>
        <p:spPr bwMode="auto">
          <a:xfrm>
            <a:off x="6510598" y="2672916"/>
            <a:ext cx="1925683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2C16703-3E27-4BB8-A288-446852A1275B}"/>
              </a:ext>
            </a:extLst>
          </p:cNvPr>
          <p:cNvSpPr/>
          <p:nvPr userDrawn="1"/>
        </p:nvSpPr>
        <p:spPr bwMode="auto">
          <a:xfrm>
            <a:off x="6507121" y="1700808"/>
            <a:ext cx="1925683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0" name="Straight Connector 66"/>
          <p:cNvCxnSpPr/>
          <p:nvPr userDrawn="1"/>
        </p:nvCxnSpPr>
        <p:spPr bwMode="auto">
          <a:xfrm flipH="1">
            <a:off x="7224522" y="1529706"/>
            <a:ext cx="22415" cy="36440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2/6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992560" y="2743280"/>
            <a:ext cx="1440000" cy="111783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4799058" y="1700808"/>
            <a:ext cx="163609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donner des soins sans </a:t>
            </a:r>
            <a:r>
              <a:rPr lang="fr-FR" sz="1100" i="1" kern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T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64</a:t>
            </a:r>
          </a:p>
        </p:txBody>
      </p:sp>
      <p:cxnSp>
        <p:nvCxnSpPr>
          <p:cNvPr id="76" name="Straight Connector 40"/>
          <p:cNvCxnSpPr>
            <a:stCxn id="78" idx="3"/>
            <a:endCxn id="75" idx="1"/>
          </p:cNvCxnSpPr>
          <p:nvPr userDrawn="1"/>
        </p:nvCxnSpPr>
        <p:spPr bwMode="auto">
          <a:xfrm flipV="1">
            <a:off x="4268924" y="1988808"/>
            <a:ext cx="530134" cy="1312668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2828924" y="3013476"/>
            <a:ext cx="1440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droit</a:t>
            </a:r>
          </a:p>
        </p:txBody>
      </p:sp>
      <p:cxnSp>
        <p:nvCxnSpPr>
          <p:cNvPr id="79" name="Straight Connector 34"/>
          <p:cNvCxnSpPr>
            <a:stCxn id="43" idx="3"/>
            <a:endCxn id="78" idx="1"/>
          </p:cNvCxnSpPr>
          <p:nvPr userDrawn="1"/>
        </p:nvCxnSpPr>
        <p:spPr bwMode="auto">
          <a:xfrm flipV="1">
            <a:off x="2432560" y="3301476"/>
            <a:ext cx="396364" cy="72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TextBox 29"/>
          <p:cNvSpPr txBox="1"/>
          <p:nvPr userDrawn="1"/>
        </p:nvSpPr>
        <p:spPr>
          <a:xfrm>
            <a:off x="6102771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625081" y="1048670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09987" y="1075072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536301" y="1505506"/>
            <a:ext cx="0" cy="36682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80"/>
          <p:cNvSpPr/>
          <p:nvPr userDrawn="1"/>
        </p:nvSpPr>
        <p:spPr bwMode="auto">
          <a:xfrm>
            <a:off x="8786436" y="1488819"/>
            <a:ext cx="759600" cy="366536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33" name="Rectangle 132"/>
          <p:cNvSpPr/>
          <p:nvPr userDrawn="1"/>
        </p:nvSpPr>
        <p:spPr bwMode="auto">
          <a:xfrm>
            <a:off x="4797112" y="3645024"/>
            <a:ext cx="1632052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ndicap sans </a:t>
            </a:r>
            <a:r>
              <a:rPr lang="fr-FR" sz="1100" i="1" kern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S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73</a:t>
            </a:r>
          </a:p>
        </p:txBody>
      </p:sp>
      <p:cxnSp>
        <p:nvCxnSpPr>
          <p:cNvPr id="131" name="Connecteur droit 130"/>
          <p:cNvCxnSpPr>
            <a:stCxn id="78" idx="3"/>
            <a:endCxn id="133" idx="1"/>
          </p:cNvCxnSpPr>
          <p:nvPr userDrawn="1"/>
        </p:nvCxnSpPr>
        <p:spPr bwMode="auto">
          <a:xfrm>
            <a:off x="4268924" y="3301476"/>
            <a:ext cx="528188" cy="63154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ctangle 55"/>
          <p:cNvSpPr/>
          <p:nvPr userDrawn="1"/>
        </p:nvSpPr>
        <p:spPr bwMode="auto">
          <a:xfrm rot="16200000">
            <a:off x="-1409734" y="3087794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pic>
        <p:nvPicPr>
          <p:cNvPr id="70" name="Image 6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71" name="Groupe 70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7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7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8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4" name="Groupe 8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7" name="Rectangle 8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" name="ZoneTexte 8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1" name="Image 9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54" name="Rectangle 53"/>
          <p:cNvSpPr/>
          <p:nvPr userDrawn="1"/>
        </p:nvSpPr>
        <p:spPr bwMode="auto">
          <a:xfrm>
            <a:off x="6519705" y="3645024"/>
            <a:ext cx="1925683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/>
          <p:cNvSpPr/>
          <p:nvPr userDrawn="1"/>
        </p:nvSpPr>
        <p:spPr bwMode="auto">
          <a:xfrm>
            <a:off x="4793069" y="2672916"/>
            <a:ext cx="163609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donner des soins sans </a:t>
            </a:r>
            <a:r>
              <a:rPr lang="fr-FR" sz="1100" i="1" kern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S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69</a:t>
            </a:r>
          </a:p>
        </p:txBody>
      </p:sp>
      <p:cxnSp>
        <p:nvCxnSpPr>
          <p:cNvPr id="51" name="Straight Connector 40"/>
          <p:cNvCxnSpPr>
            <a:stCxn id="78" idx="3"/>
            <a:endCxn id="50" idx="1"/>
          </p:cNvCxnSpPr>
          <p:nvPr userDrawn="1"/>
        </p:nvCxnSpPr>
        <p:spPr bwMode="auto">
          <a:xfrm flipV="1">
            <a:off x="4268924" y="2960916"/>
            <a:ext cx="524145" cy="34056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2" name="Image 51">
            <a:extLst>
              <a:ext uri="{FF2B5EF4-FFF2-40B4-BE49-F238E27FC236}">
                <a16:creationId xmlns:a16="http://schemas.microsoft.com/office/drawing/2014/main" id="{F08A93E9-8C27-4787-8F1C-67C7D346140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6709" y="1808820"/>
            <a:ext cx="362413" cy="362413"/>
          </a:xfrm>
          <a:prstGeom prst="rect">
            <a:avLst/>
          </a:prstGeom>
        </p:spPr>
      </p:pic>
      <p:pic>
        <p:nvPicPr>
          <p:cNvPr id="57" name="Image 56">
            <a:extLst>
              <a:ext uri="{FF2B5EF4-FFF2-40B4-BE49-F238E27FC236}">
                <a16:creationId xmlns:a16="http://schemas.microsoft.com/office/drawing/2014/main" id="{F8B8DFA9-01AF-41C1-9AED-C60EFABE6211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4521" y="2780928"/>
            <a:ext cx="362413" cy="362413"/>
          </a:xfrm>
          <a:prstGeom prst="rect">
            <a:avLst/>
          </a:prstGeom>
        </p:spPr>
      </p:pic>
      <p:pic>
        <p:nvPicPr>
          <p:cNvPr id="61" name="Image 60">
            <a:extLst>
              <a:ext uri="{FF2B5EF4-FFF2-40B4-BE49-F238E27FC236}">
                <a16:creationId xmlns:a16="http://schemas.microsoft.com/office/drawing/2014/main" id="{B03B8B90-106D-485A-A16C-E49B16799FA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4521" y="3753036"/>
            <a:ext cx="362413" cy="362413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4AB8723D-F4E5-4600-831E-1C88393B8799}"/>
              </a:ext>
            </a:extLst>
          </p:cNvPr>
          <p:cNvSpPr/>
          <p:nvPr userDrawn="1"/>
        </p:nvSpPr>
        <p:spPr bwMode="auto">
          <a:xfrm>
            <a:off x="4808984" y="4365168"/>
            <a:ext cx="1632052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ndicap sans </a:t>
            </a:r>
            <a:r>
              <a:rPr lang="fr-FR" sz="1100" i="1" kern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T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23</a:t>
            </a:r>
          </a:p>
        </p:txBody>
      </p:sp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id="{0EB86556-C4D9-47AA-A0E0-DD641FB4558C}"/>
              </a:ext>
            </a:extLst>
          </p:cNvPr>
          <p:cNvCxnSpPr>
            <a:cxnSpLocks/>
            <a:stCxn id="78" idx="3"/>
            <a:endCxn id="62" idx="1"/>
          </p:cNvCxnSpPr>
          <p:nvPr userDrawn="1"/>
        </p:nvCxnSpPr>
        <p:spPr bwMode="auto">
          <a:xfrm>
            <a:off x="4268924" y="3301476"/>
            <a:ext cx="540060" cy="135169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13FA27AA-E7E1-44A5-A74D-8D37F9DE93DA}"/>
              </a:ext>
            </a:extLst>
          </p:cNvPr>
          <p:cNvSpPr/>
          <p:nvPr userDrawn="1"/>
        </p:nvSpPr>
        <p:spPr bwMode="auto">
          <a:xfrm>
            <a:off x="6513179" y="4365168"/>
            <a:ext cx="1925683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7" name="Image 66">
            <a:extLst>
              <a:ext uri="{FF2B5EF4-FFF2-40B4-BE49-F238E27FC236}">
                <a16:creationId xmlns:a16="http://schemas.microsoft.com/office/drawing/2014/main" id="{9F5544D6-BF36-4B2F-ABBF-7BBDE83B917F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7917" y="447232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7715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temps partiel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209987" y="1477929"/>
            <a:ext cx="22667" cy="364325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2" name="Rectangle 121"/>
          <p:cNvSpPr/>
          <p:nvPr userDrawn="1"/>
        </p:nvSpPr>
        <p:spPr bwMode="auto">
          <a:xfrm>
            <a:off x="6386728" y="2024844"/>
            <a:ext cx="2153616" cy="57599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6400692" y="4149144"/>
            <a:ext cx="2152708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3/6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026625" y="2816932"/>
            <a:ext cx="1440000" cy="120962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2913920" y="3140968"/>
            <a:ext cx="1440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 autorisation</a:t>
            </a: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4664053" y="2024844"/>
            <a:ext cx="1440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c sur-cotisation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06</a:t>
            </a:r>
          </a:p>
        </p:txBody>
      </p:sp>
      <p:sp>
        <p:nvSpPr>
          <p:cNvPr id="103" name="Rectangle 102"/>
          <p:cNvSpPr/>
          <p:nvPr userDrawn="1"/>
        </p:nvSpPr>
        <p:spPr bwMode="auto">
          <a:xfrm>
            <a:off x="4689100" y="4113140"/>
            <a:ext cx="1440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s sur-cotisation (S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38</a:t>
            </a:r>
          </a:p>
        </p:txBody>
      </p:sp>
      <p:cxnSp>
        <p:nvCxnSpPr>
          <p:cNvPr id="104" name="Straight Connector 18"/>
          <p:cNvCxnSpPr>
            <a:stCxn id="101" idx="3"/>
            <a:endCxn id="102" idx="1"/>
          </p:cNvCxnSpPr>
          <p:nvPr userDrawn="1"/>
        </p:nvCxnSpPr>
        <p:spPr bwMode="auto">
          <a:xfrm flipV="1">
            <a:off x="4353920" y="2312844"/>
            <a:ext cx="310133" cy="111612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5" name="Straight Connector 18"/>
          <p:cNvCxnSpPr>
            <a:stCxn id="101" idx="3"/>
            <a:endCxn id="103" idx="1"/>
          </p:cNvCxnSpPr>
          <p:nvPr userDrawn="1"/>
        </p:nvCxnSpPr>
        <p:spPr bwMode="auto">
          <a:xfrm>
            <a:off x="4353920" y="3428968"/>
            <a:ext cx="335180" cy="97217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TextBox 29"/>
          <p:cNvSpPr txBox="1"/>
          <p:nvPr userDrawn="1"/>
        </p:nvSpPr>
        <p:spPr>
          <a:xfrm>
            <a:off x="6102771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625081" y="1048670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09987" y="1075072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536301" y="1505506"/>
            <a:ext cx="0" cy="361568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80"/>
          <p:cNvSpPr/>
          <p:nvPr userDrawn="1"/>
        </p:nvSpPr>
        <p:spPr bwMode="auto">
          <a:xfrm>
            <a:off x="8786436" y="1488819"/>
            <a:ext cx="759600" cy="374008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93" name="Connecteur droit 92"/>
          <p:cNvCxnSpPr>
            <a:stCxn id="101" idx="1"/>
            <a:endCxn id="43" idx="3"/>
          </p:cNvCxnSpPr>
          <p:nvPr userDrawn="1"/>
        </p:nvCxnSpPr>
        <p:spPr bwMode="auto">
          <a:xfrm flipH="1" flipV="1">
            <a:off x="2466625" y="3421746"/>
            <a:ext cx="447295" cy="722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ctangle 55"/>
          <p:cNvSpPr/>
          <p:nvPr userDrawn="1"/>
        </p:nvSpPr>
        <p:spPr bwMode="auto">
          <a:xfrm rot="16200000">
            <a:off x="-1409734" y="3087794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pic>
        <p:nvPicPr>
          <p:cNvPr id="70" name="Image 6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71" name="Groupe 70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7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7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8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4" name="Groupe 8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7" name="Rectangle 8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" name="ZoneTexte 8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1" name="Image 9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66" name="Image 6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2300" y="2132856"/>
            <a:ext cx="318039" cy="336260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auto">
          <a:xfrm>
            <a:off x="4664968" y="3140968"/>
            <a:ext cx="1440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s sur-cotisation (T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03</a:t>
            </a:r>
          </a:p>
        </p:txBody>
      </p:sp>
      <p:sp>
        <p:nvSpPr>
          <p:cNvPr id="45" name="Rectangle 44"/>
          <p:cNvSpPr/>
          <p:nvPr userDrawn="1"/>
        </p:nvSpPr>
        <p:spPr bwMode="auto">
          <a:xfrm>
            <a:off x="6386728" y="3137389"/>
            <a:ext cx="2149573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2300" y="3267336"/>
            <a:ext cx="318039" cy="336260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967" y="4249935"/>
            <a:ext cx="318039" cy="336260"/>
          </a:xfrm>
          <a:prstGeom prst="rect">
            <a:avLst/>
          </a:prstGeom>
        </p:spPr>
      </p:pic>
      <p:cxnSp>
        <p:nvCxnSpPr>
          <p:cNvPr id="50" name="Connecteur droit 49"/>
          <p:cNvCxnSpPr>
            <a:stCxn id="44" idx="1"/>
            <a:endCxn id="101" idx="3"/>
          </p:cNvCxnSpPr>
          <p:nvPr userDrawn="1"/>
        </p:nvCxnSpPr>
        <p:spPr bwMode="auto">
          <a:xfrm flipH="1">
            <a:off x="4353920" y="3428968"/>
            <a:ext cx="31104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9528351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sque temps partiel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>
            <a:off x="7146906" y="1522468"/>
            <a:ext cx="0" cy="35969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4/6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3671498" y="1772816"/>
            <a:ext cx="2217606" cy="71786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ongé de solidarité familiale à</a:t>
            </a:r>
            <a:r>
              <a:rPr lang="fr-FR" sz="1050" b="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lang="fr-FR" sz="1050" b="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Arial" panose="020B0604020202020204" pitchFamily="34" charset="0"/>
              </a:rPr>
              <a:t>temps </a:t>
            </a: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artiel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15 (T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40</a:t>
            </a:r>
            <a:r>
              <a:rPr lang="fr-FR" sz="1100" b="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(S)</a:t>
            </a:r>
            <a:endParaRPr lang="fr-FR" sz="1100" b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012666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137979" y="1075072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 ou prolongation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505506"/>
            <a:ext cx="0" cy="361389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pic>
        <p:nvPicPr>
          <p:cNvPr id="50" name="Image 4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3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0" name="Groupe 6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Rectangle 7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ZoneTexte 7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45" name="Rectangle 44"/>
          <p:cNvSpPr/>
          <p:nvPr userDrawn="1"/>
        </p:nvSpPr>
        <p:spPr bwMode="auto">
          <a:xfrm>
            <a:off x="3620852" y="4293096"/>
            <a:ext cx="2217606" cy="8263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ongé de proche</a:t>
            </a:r>
            <a:r>
              <a:rPr lang="fr-FR" sz="1050" b="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aidant </a:t>
            </a: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à temps partiel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35 (T)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51 (S)</a:t>
            </a: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8786436" y="1488819"/>
            <a:ext cx="759600" cy="374008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1305814" y="310496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cxnSp>
        <p:nvCxnSpPr>
          <p:cNvPr id="58" name="Straight Connector 18"/>
          <p:cNvCxnSpPr>
            <a:stCxn id="57" idx="3"/>
            <a:endCxn id="43" idx="1"/>
          </p:cNvCxnSpPr>
          <p:nvPr userDrawn="1"/>
        </p:nvCxnSpPr>
        <p:spPr bwMode="auto">
          <a:xfrm flipV="1">
            <a:off x="2745814" y="2131749"/>
            <a:ext cx="925684" cy="133321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18"/>
          <p:cNvCxnSpPr>
            <a:stCxn id="57" idx="3"/>
            <a:endCxn id="45" idx="1"/>
          </p:cNvCxnSpPr>
          <p:nvPr userDrawn="1"/>
        </p:nvCxnSpPr>
        <p:spPr bwMode="auto">
          <a:xfrm>
            <a:off x="2745814" y="3464964"/>
            <a:ext cx="875038" cy="124128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/>
          <p:cNvSpPr/>
          <p:nvPr userDrawn="1"/>
        </p:nvSpPr>
        <p:spPr bwMode="auto">
          <a:xfrm>
            <a:off x="3635494" y="3051814"/>
            <a:ext cx="2217606" cy="82813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ongé de présence parentale à</a:t>
            </a:r>
            <a:r>
              <a:rPr lang="fr-FR" sz="1050" b="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lang="fr-FR" sz="1050" b="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Arial" panose="020B0604020202020204" pitchFamily="34" charset="0"/>
              </a:rPr>
              <a:t>temps </a:t>
            </a: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artiel</a:t>
            </a:r>
          </a:p>
          <a:p>
            <a:pPr algn="ctr"/>
            <a:r>
              <a:rPr lang="fr-FR" sz="110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47 (T)</a:t>
            </a:r>
          </a:p>
          <a:p>
            <a:pPr algn="ctr"/>
            <a:r>
              <a:rPr lang="fr-FR" sz="1100" b="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49 (S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100" b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cxnSp>
        <p:nvCxnSpPr>
          <p:cNvPr id="60" name="Straight Connector 18"/>
          <p:cNvCxnSpPr>
            <a:stCxn id="57" idx="3"/>
            <a:endCxn id="51" idx="1"/>
          </p:cNvCxnSpPr>
          <p:nvPr userDrawn="1"/>
        </p:nvCxnSpPr>
        <p:spPr bwMode="auto">
          <a:xfrm>
            <a:off x="2745814" y="3464964"/>
            <a:ext cx="889680" cy="91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3" name="Rectangle 62"/>
          <p:cNvSpPr/>
          <p:nvPr userDrawn="1"/>
        </p:nvSpPr>
        <p:spPr bwMode="auto">
          <a:xfrm>
            <a:off x="7185248" y="1690165"/>
            <a:ext cx="1245333" cy="91253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16 (T)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41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S)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65" name="Rectangle 64"/>
          <p:cNvSpPr/>
          <p:nvPr userDrawn="1"/>
        </p:nvSpPr>
        <p:spPr bwMode="auto">
          <a:xfrm>
            <a:off x="7185248" y="4293096"/>
            <a:ext cx="1217767" cy="8263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58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T)</a:t>
            </a:r>
          </a:p>
          <a:p>
            <a:pPr algn="ctr"/>
            <a:endParaRPr lang="fr-FR" sz="1200" i="1" kern="0" baseline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300" i="1" kern="0" baseline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59 (S)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974" y="1952836"/>
            <a:ext cx="318039" cy="336260"/>
          </a:xfrm>
          <a:prstGeom prst="rect">
            <a:avLst/>
          </a:prstGeom>
        </p:spPr>
      </p:pic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4769" y="4496896"/>
            <a:ext cx="318039" cy="336260"/>
          </a:xfrm>
          <a:prstGeom prst="rect">
            <a:avLst/>
          </a:prstGeom>
        </p:spPr>
      </p:pic>
      <p:pic>
        <p:nvPicPr>
          <p:cNvPr id="7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484043" y="482959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522" y="4495094"/>
            <a:ext cx="217584" cy="230050"/>
          </a:xfrm>
          <a:prstGeom prst="rect">
            <a:avLst/>
          </a:prstGeom>
        </p:spPr>
      </p:pic>
      <p:pic>
        <p:nvPicPr>
          <p:cNvPr id="8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666337" y="4846095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" name="Rectangle 80"/>
          <p:cNvSpPr/>
          <p:nvPr userDrawn="1"/>
        </p:nvSpPr>
        <p:spPr bwMode="auto">
          <a:xfrm>
            <a:off x="7185248" y="3034748"/>
            <a:ext cx="1217767" cy="8263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61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T)</a:t>
            </a:r>
          </a:p>
          <a:p>
            <a:pPr algn="ctr"/>
            <a:endParaRPr lang="fr-FR" sz="1200" i="1" kern="0" baseline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300" i="1" kern="0" baseline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62 (S)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8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649741" y="360546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157" y="3176972"/>
            <a:ext cx="318039" cy="336260"/>
          </a:xfrm>
          <a:prstGeom prst="rect">
            <a:avLst/>
          </a:prstGeom>
        </p:spPr>
      </p:pic>
      <p:pic>
        <p:nvPicPr>
          <p:cNvPr id="8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461609" y="353345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Image 6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3890" y="1938810"/>
            <a:ext cx="217584" cy="230050"/>
          </a:xfrm>
          <a:prstGeom prst="rect">
            <a:avLst/>
          </a:prstGeom>
        </p:spPr>
      </p:pic>
      <p:pic>
        <p:nvPicPr>
          <p:cNvPr id="62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663890" y="2350854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" name="Image 63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3890" y="3240351"/>
            <a:ext cx="217584" cy="23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1277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temps partiel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168943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7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_ modification</a:t>
            </a:r>
            <a:r>
              <a:rPr lang="fr-FR" sz="1800" kern="0" baseline="0" dirty="0"/>
              <a:t> ou fin</a:t>
            </a:r>
            <a:r>
              <a:rPr lang="fr-FR" sz="1800" kern="0" dirty="0"/>
              <a:t> (5/6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296161" y="303116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012666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137979" y="1075072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68943"/>
            <a:ext cx="0" cy="395045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0" name="Rectangle 139"/>
          <p:cNvSpPr/>
          <p:nvPr userDrawn="1"/>
        </p:nvSpPr>
        <p:spPr bwMode="auto">
          <a:xfrm>
            <a:off x="3526002" y="4305066"/>
            <a:ext cx="259359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prise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des fonctions à temps plein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07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81" name="Rectangle 80"/>
          <p:cNvSpPr/>
          <p:nvPr userDrawn="1"/>
        </p:nvSpPr>
        <p:spPr bwMode="auto">
          <a:xfrm>
            <a:off x="8714428" y="1488819"/>
            <a:ext cx="759600" cy="363057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9" name="Connecteur droit 8"/>
          <p:cNvCxnSpPr>
            <a:stCxn id="43" idx="3"/>
            <a:endCxn id="140" idx="1"/>
          </p:cNvCxnSpPr>
          <p:nvPr userDrawn="1"/>
        </p:nvCxnSpPr>
        <p:spPr bwMode="auto">
          <a:xfrm>
            <a:off x="2736161" y="3391163"/>
            <a:ext cx="789841" cy="127390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/>
          <p:cNvSpPr/>
          <p:nvPr userDrawn="1"/>
        </p:nvSpPr>
        <p:spPr bwMode="auto">
          <a:xfrm>
            <a:off x="7416612" y="1470326"/>
            <a:ext cx="758839" cy="364907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9" name="Rectangle 68"/>
          <p:cNvSpPr/>
          <p:nvPr userDrawn="1"/>
        </p:nvSpPr>
        <p:spPr bwMode="auto">
          <a:xfrm>
            <a:off x="3513678" y="3027942"/>
            <a:ext cx="259007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pension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 temps partiel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31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" name="Connecteur droit 27"/>
          <p:cNvCxnSpPr>
            <a:stCxn id="43" idx="3"/>
            <a:endCxn id="69" idx="1"/>
          </p:cNvCxnSpPr>
          <p:nvPr userDrawn="1"/>
        </p:nvCxnSpPr>
        <p:spPr bwMode="auto">
          <a:xfrm flipV="1">
            <a:off x="2736161" y="3387942"/>
            <a:ext cx="777517" cy="322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5" name="Rectangle 44"/>
          <p:cNvSpPr/>
          <p:nvPr userDrawn="1"/>
        </p:nvSpPr>
        <p:spPr bwMode="auto">
          <a:xfrm>
            <a:off x="3519982" y="1644666"/>
            <a:ext cx="259007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ment de quotité de temps partiel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sans </a:t>
            </a:r>
            <a:r>
              <a:rPr lang="fr-FR" sz="1050" i="1" kern="0" baseline="0" dirty="0" err="1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cotisation</a:t>
            </a: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37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6" name="Connecteur droit 45"/>
          <p:cNvCxnSpPr>
            <a:stCxn id="43" idx="3"/>
            <a:endCxn id="45" idx="1"/>
          </p:cNvCxnSpPr>
          <p:nvPr userDrawn="1"/>
        </p:nvCxnSpPr>
        <p:spPr bwMode="auto">
          <a:xfrm flipV="1">
            <a:off x="2736161" y="2004666"/>
            <a:ext cx="783821" cy="138649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0" name="Image 4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3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0" name="Groupe 6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Rectangle 7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ZoneTexte 7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7660" y="1814686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592" y="4543016"/>
            <a:ext cx="318039" cy="336260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5982" y="323638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742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temps partiel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168943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_ Thérapeutique (6/6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296161" y="303116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012666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137979" y="1075072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68943"/>
            <a:ext cx="0" cy="395045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80"/>
          <p:cNvSpPr/>
          <p:nvPr userDrawn="1"/>
        </p:nvSpPr>
        <p:spPr bwMode="auto">
          <a:xfrm>
            <a:off x="8714428" y="1488819"/>
            <a:ext cx="759600" cy="363057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1" name="Rectangle 50"/>
          <p:cNvSpPr/>
          <p:nvPr userDrawn="1"/>
        </p:nvSpPr>
        <p:spPr bwMode="auto">
          <a:xfrm>
            <a:off x="7416612" y="2456892"/>
            <a:ext cx="758839" cy="266250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9" name="Rectangle 68"/>
          <p:cNvSpPr/>
          <p:nvPr userDrawn="1"/>
        </p:nvSpPr>
        <p:spPr bwMode="auto">
          <a:xfrm>
            <a:off x="3548844" y="4192211"/>
            <a:ext cx="259007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 thérapeutique fin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55 (T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56 (S)</a:t>
            </a:r>
          </a:p>
        </p:txBody>
      </p:sp>
      <p:cxnSp>
        <p:nvCxnSpPr>
          <p:cNvPr id="28" name="Connecteur droit 27"/>
          <p:cNvCxnSpPr>
            <a:stCxn id="43" idx="3"/>
            <a:endCxn id="69" idx="1"/>
          </p:cNvCxnSpPr>
          <p:nvPr userDrawn="1"/>
        </p:nvCxnSpPr>
        <p:spPr bwMode="auto">
          <a:xfrm>
            <a:off x="2736161" y="3391163"/>
            <a:ext cx="812683" cy="116104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2" name="Rectangle 41"/>
          <p:cNvSpPr/>
          <p:nvPr userDrawn="1"/>
        </p:nvSpPr>
        <p:spPr bwMode="auto">
          <a:xfrm>
            <a:off x="3520287" y="2996952"/>
            <a:ext cx="259359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hangement de quotité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de temps partiel thérapeutique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52 (T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53 (T)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cxnSp>
        <p:nvCxnSpPr>
          <p:cNvPr id="44" name="Connecteur droit 43"/>
          <p:cNvCxnSpPr>
            <a:stCxn id="43" idx="3"/>
            <a:endCxn id="42" idx="1"/>
          </p:cNvCxnSpPr>
          <p:nvPr userDrawn="1"/>
        </p:nvCxnSpPr>
        <p:spPr bwMode="auto">
          <a:xfrm flipV="1">
            <a:off x="2736161" y="3356952"/>
            <a:ext cx="784126" cy="3421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Connecteur droit 45"/>
          <p:cNvCxnSpPr>
            <a:stCxn id="43" idx="3"/>
          </p:cNvCxnSpPr>
          <p:nvPr userDrawn="1"/>
        </p:nvCxnSpPr>
        <p:spPr bwMode="auto">
          <a:xfrm flipV="1">
            <a:off x="2736161" y="1898434"/>
            <a:ext cx="783821" cy="14927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0" name="Image 4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3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0" name="Groupe 6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Rectangle 7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ZoneTexte 7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2828" y="1723920"/>
            <a:ext cx="318039" cy="336260"/>
          </a:xfrm>
          <a:prstGeom prst="rect">
            <a:avLst/>
          </a:prstGeom>
        </p:spPr>
      </p:pic>
      <p:sp>
        <p:nvSpPr>
          <p:cNvPr id="57" name="Rectangle 56"/>
          <p:cNvSpPr/>
          <p:nvPr userDrawn="1"/>
        </p:nvSpPr>
        <p:spPr bwMode="auto">
          <a:xfrm>
            <a:off x="3548844" y="1531280"/>
            <a:ext cx="2535669" cy="79823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aison thérapeutique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42 (T)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43 (S)</a:t>
            </a:r>
          </a:p>
          <a:p>
            <a:pPr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57"/>
          <p:cNvSpPr/>
          <p:nvPr userDrawn="1"/>
        </p:nvSpPr>
        <p:spPr bwMode="auto">
          <a:xfrm>
            <a:off x="7190079" y="1529707"/>
            <a:ext cx="1255309" cy="79980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44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MOS0045 (S)</a:t>
            </a: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6580" y="1917570"/>
            <a:ext cx="318039" cy="336260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677" y="3272760"/>
            <a:ext cx="318039" cy="336260"/>
          </a:xfrm>
          <a:prstGeom prst="rect">
            <a:avLst/>
          </a:prstGeom>
        </p:spPr>
      </p:pic>
      <p:pic>
        <p:nvPicPr>
          <p:cNvPr id="62" name="Image 61">
            <a:extLst>
              <a:ext uri="{FF2B5EF4-FFF2-40B4-BE49-F238E27FC236}">
                <a16:creationId xmlns:a16="http://schemas.microsoft.com/office/drawing/2014/main" id="{047AE544-7DB0-445D-89A4-A244756F7F63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168" y="442488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6120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7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dirty="0">
              <a:solidFill>
                <a:srgbClr val="004272"/>
              </a:solidFill>
              <a:cs typeface="+mn-cs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685" y="6310313"/>
            <a:ext cx="6477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space réservé du contenu 2"/>
          <p:cNvSpPr>
            <a:spLocks noGrp="1"/>
          </p:cNvSpPr>
          <p:nvPr>
            <p:ph idx="1"/>
          </p:nvPr>
        </p:nvSpPr>
        <p:spPr>
          <a:xfrm>
            <a:off x="508001" y="1484313"/>
            <a:ext cx="9161523" cy="4465637"/>
          </a:xfrm>
        </p:spPr>
        <p:txBody>
          <a:bodyPr/>
          <a:lstStyle>
            <a:lvl1pPr>
              <a:defRPr sz="1600">
                <a:latin typeface="+mn-lt"/>
                <a:cs typeface="Calibri" pitchFamily="34" charset="0"/>
              </a:defRPr>
            </a:lvl1pPr>
            <a:lvl2pPr>
              <a:defRPr sz="1600">
                <a:latin typeface="+mn-lt"/>
                <a:cs typeface="Calibri" pitchFamily="34" charset="0"/>
              </a:defRPr>
            </a:lvl2pPr>
            <a:lvl3pPr>
              <a:defRPr sz="1400">
                <a:latin typeface="+mn-lt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6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41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453563" y="6288088"/>
            <a:ext cx="417512" cy="511175"/>
          </a:xfrm>
        </p:spPr>
        <p:txBody>
          <a:bodyPr anchor="ctr"/>
          <a:lstStyle>
            <a:lvl1pPr algn="ctr">
              <a:defRPr b="0"/>
            </a:lvl1pPr>
          </a:lstStyle>
          <a:p>
            <a:pPr>
              <a:defRPr/>
            </a:pPr>
            <a:r>
              <a:rPr lang="fr-FR" dirty="0"/>
              <a:t> </a:t>
            </a:r>
            <a:fld id="{2E213F33-44B3-4E5A-874B-1241FE46FE4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2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dirty="0">
              <a:solidFill>
                <a:srgbClr val="004272"/>
              </a:solidFill>
            </a:endParaRPr>
          </a:p>
        </p:txBody>
      </p:sp>
      <p:sp>
        <p:nvSpPr>
          <p:cNvPr id="43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8157356" y="6356350"/>
            <a:ext cx="12961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4272"/>
                </a:solidFill>
                <a:latin typeface="+mn-lt"/>
              </a:defRPr>
            </a:lvl1pPr>
          </a:lstStyle>
          <a:p>
            <a:endParaRPr lang="fr-FR" dirty="0"/>
          </a:p>
        </p:txBody>
      </p:sp>
      <p:sp>
        <p:nvSpPr>
          <p:cNvPr id="4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2418611" y="6356350"/>
            <a:ext cx="5738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 dirty="0"/>
              <a:t>Réunion de suivi des missions d'appuis et d'expertises au CISIRH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8985941" y="174978"/>
            <a:ext cx="731341" cy="705144"/>
            <a:chOff x="5259053" y="2639558"/>
            <a:chExt cx="1709797" cy="1648549"/>
          </a:xfrm>
        </p:grpSpPr>
        <p:sp>
          <p:nvSpPr>
            <p:cNvPr id="49" name="Hexagone 48"/>
            <p:cNvSpPr>
              <a:spLocks noChangeAspect="1"/>
            </p:cNvSpPr>
            <p:nvPr userDrawn="1"/>
          </p:nvSpPr>
          <p:spPr>
            <a:xfrm rot="5400000" flipV="1">
              <a:off x="6094614" y="3713439"/>
              <a:ext cx="611178" cy="538157"/>
            </a:xfrm>
            <a:prstGeom prst="hexagon">
              <a:avLst/>
            </a:prstGeom>
            <a:solidFill>
              <a:srgbClr val="8966FF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0" name="Hexagone 49"/>
            <p:cNvSpPr>
              <a:spLocks noChangeAspect="1"/>
            </p:cNvSpPr>
            <p:nvPr userDrawn="1"/>
          </p:nvSpPr>
          <p:spPr>
            <a:xfrm rot="5400000" flipV="1">
              <a:off x="5222543" y="3177663"/>
              <a:ext cx="611179" cy="538159"/>
            </a:xfrm>
            <a:prstGeom prst="hexagon">
              <a:avLst/>
            </a:prstGeom>
            <a:solidFill>
              <a:srgbClr val="04BAC8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1" name="Hexagone 50"/>
            <p:cNvSpPr>
              <a:spLocks noChangeAspect="1"/>
            </p:cNvSpPr>
            <p:nvPr userDrawn="1"/>
          </p:nvSpPr>
          <p:spPr>
            <a:xfrm rot="5400000" flipV="1">
              <a:off x="6107054" y="2690258"/>
              <a:ext cx="611179" cy="538159"/>
            </a:xfrm>
            <a:prstGeom prst="hexagon">
              <a:avLst/>
            </a:prstGeom>
            <a:solidFill>
              <a:srgbClr val="F14E50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2" name="Hexagone 51"/>
            <p:cNvSpPr>
              <a:spLocks noChangeAspect="1"/>
            </p:cNvSpPr>
            <p:nvPr userDrawn="1"/>
          </p:nvSpPr>
          <p:spPr>
            <a:xfrm rot="5400000" flipV="1">
              <a:off x="5521331" y="2676068"/>
              <a:ext cx="611180" cy="538159"/>
            </a:xfrm>
            <a:prstGeom prst="hexagon">
              <a:avLst/>
            </a:prstGeom>
            <a:solidFill>
              <a:srgbClr val="A3B2D9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3" name="Hexagone 52"/>
            <p:cNvSpPr>
              <a:spLocks noChangeAspect="1"/>
            </p:cNvSpPr>
            <p:nvPr userDrawn="1"/>
          </p:nvSpPr>
          <p:spPr>
            <a:xfrm rot="5400000" flipV="1">
              <a:off x="5515405" y="3698235"/>
              <a:ext cx="611178" cy="538157"/>
            </a:xfrm>
            <a:prstGeom prst="hexagon">
              <a:avLst/>
            </a:prstGeom>
            <a:solidFill>
              <a:srgbClr val="91CF4D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4" name="Hexagone 53"/>
            <p:cNvSpPr>
              <a:spLocks noChangeAspect="1"/>
            </p:cNvSpPr>
            <p:nvPr userDrawn="1"/>
          </p:nvSpPr>
          <p:spPr>
            <a:xfrm rot="5400000" flipV="1">
              <a:off x="5810059" y="3196638"/>
              <a:ext cx="611178" cy="538157"/>
            </a:xfrm>
            <a:prstGeom prst="hexagon">
              <a:avLst/>
            </a:prstGeom>
            <a:solidFill>
              <a:srgbClr val="004272"/>
            </a:solidFill>
            <a:ln w="41275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5" name="Hexagone 54"/>
            <p:cNvSpPr>
              <a:spLocks noChangeAspect="1"/>
            </p:cNvSpPr>
            <p:nvPr userDrawn="1"/>
          </p:nvSpPr>
          <p:spPr>
            <a:xfrm rot="5400000" flipV="1">
              <a:off x="5808265" y="3199088"/>
              <a:ext cx="611178" cy="538157"/>
            </a:xfrm>
            <a:prstGeom prst="hexagon">
              <a:avLst/>
            </a:prstGeom>
            <a:noFill/>
            <a:ln w="22225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pic>
          <p:nvPicPr>
            <p:cNvPr id="56" name="Picture 4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785" y="3323338"/>
              <a:ext cx="378137" cy="246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7" name="Hexagone 56"/>
            <p:cNvSpPr>
              <a:spLocks noChangeAspect="1"/>
            </p:cNvSpPr>
            <p:nvPr userDrawn="1"/>
          </p:nvSpPr>
          <p:spPr>
            <a:xfrm rot="5400000" flipV="1">
              <a:off x="6394183" y="3197039"/>
              <a:ext cx="611178" cy="538157"/>
            </a:xfrm>
            <a:prstGeom prst="hexagon">
              <a:avLst/>
            </a:prstGeom>
            <a:solidFill>
              <a:srgbClr val="F39200"/>
            </a:solidFill>
            <a:ln w="4445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59151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Télétrav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>
            <a:off x="7146906" y="1522468"/>
            <a:ext cx="0" cy="35969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9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élétravail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316596" y="3069040"/>
            <a:ext cx="241226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élétravail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01882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012666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137979" y="1075072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505506"/>
            <a:ext cx="0" cy="361389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pic>
        <p:nvPicPr>
          <p:cNvPr id="50" name="Image 4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3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0" name="Groupe 6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Rectangle 7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ZoneTexte 7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cxnSp>
        <p:nvCxnSpPr>
          <p:cNvPr id="44" name="Straight Connector 18"/>
          <p:cNvCxnSpPr>
            <a:stCxn id="43" idx="3"/>
            <a:endCxn id="46" idx="1"/>
          </p:cNvCxnSpPr>
          <p:nvPr userDrawn="1"/>
        </p:nvCxnSpPr>
        <p:spPr bwMode="auto">
          <a:xfrm flipV="1">
            <a:off x="3728864" y="2312836"/>
            <a:ext cx="781660" cy="111620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18"/>
          <p:cNvCxnSpPr>
            <a:stCxn id="43" idx="3"/>
            <a:endCxn id="62" idx="1"/>
          </p:cNvCxnSpPr>
          <p:nvPr userDrawn="1"/>
        </p:nvCxnSpPr>
        <p:spPr bwMode="auto">
          <a:xfrm>
            <a:off x="3728864" y="3429040"/>
            <a:ext cx="781660" cy="100811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6" name="Rectangle 45"/>
          <p:cNvSpPr/>
          <p:nvPr userDrawn="1"/>
        </p:nvSpPr>
        <p:spPr bwMode="auto">
          <a:xfrm>
            <a:off x="4510524" y="1952836"/>
            <a:ext cx="145058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Arial" panose="020B0604020202020204" pitchFamily="34" charset="0"/>
              </a:rPr>
              <a:t>Télétravail initial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Arial" panose="020B0604020202020204" pitchFamily="34" charset="0"/>
              </a:rPr>
              <a:t>INTMOS0025</a:t>
            </a:r>
          </a:p>
        </p:txBody>
      </p:sp>
      <p:sp>
        <p:nvSpPr>
          <p:cNvPr id="47" name="Rectangle 46"/>
          <p:cNvSpPr/>
          <p:nvPr userDrawn="1"/>
        </p:nvSpPr>
        <p:spPr bwMode="auto">
          <a:xfrm>
            <a:off x="4510524" y="3068960"/>
            <a:ext cx="145058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cs typeface="Arial" panose="020B0604020202020204" pitchFamily="34" charset="0"/>
              </a:rPr>
              <a:t>Télétravail initial</a:t>
            </a:r>
            <a:r>
              <a:rPr lang="fr-FR" sz="1050" b="0" i="1" kern="0" baseline="0" dirty="0">
                <a:solidFill>
                  <a:srgbClr val="004272"/>
                </a:solidFill>
                <a:latin typeface="Arial (Corps)"/>
                <a:cs typeface="Arial" panose="020B0604020202020204" pitchFamily="34" charset="0"/>
              </a:rPr>
              <a:t> avec période d’adaptation</a:t>
            </a:r>
          </a:p>
          <a:p>
            <a:pPr algn="ctr"/>
            <a:r>
              <a:rPr lang="fr-FR" sz="1050" b="0" i="1" kern="0" baseline="0" dirty="0">
                <a:solidFill>
                  <a:srgbClr val="004272"/>
                </a:solidFill>
                <a:latin typeface="Arial (Corps)"/>
                <a:cs typeface="Arial" panose="020B0604020202020204" pitchFamily="34" charset="0"/>
              </a:rPr>
              <a:t>INTMOS0026</a:t>
            </a: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7233752" y="1623396"/>
            <a:ext cx="1127593" cy="338520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5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31143" y="3240635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37176" y="215578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931009" y="428953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Rectangle 61"/>
          <p:cNvSpPr/>
          <p:nvPr userDrawn="1"/>
        </p:nvSpPr>
        <p:spPr bwMode="auto">
          <a:xfrm>
            <a:off x="4510524" y="4077152"/>
            <a:ext cx="145058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Arial" panose="020B0604020202020204" pitchFamily="34" charset="0"/>
              </a:rPr>
              <a:t>Télétravail fin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Arial" panose="020B0604020202020204" pitchFamily="34" charset="0"/>
              </a:rPr>
              <a:t>INTMOS0027</a:t>
            </a:r>
          </a:p>
        </p:txBody>
      </p:sp>
      <p:cxnSp>
        <p:nvCxnSpPr>
          <p:cNvPr id="63" name="Straight Connector 18"/>
          <p:cNvCxnSpPr>
            <a:stCxn id="43" idx="3"/>
            <a:endCxn id="47" idx="1"/>
          </p:cNvCxnSpPr>
          <p:nvPr userDrawn="1"/>
        </p:nvCxnSpPr>
        <p:spPr bwMode="auto">
          <a:xfrm flipV="1">
            <a:off x="3728864" y="3428960"/>
            <a:ext cx="781660" cy="8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4723147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 bwMode="auto">
          <a:xfrm>
            <a:off x="7214252" y="1952836"/>
            <a:ext cx="116080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92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0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maladie ordinaire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40974" y="310119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maladie ordinaire (CMO) avec jour de carence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157198" y="1981300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MO avec jour de carence (avec impact sur rémunération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88 (initial)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580974" y="2341300"/>
            <a:ext cx="576224" cy="111989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0" name="Rectangle 99"/>
          <p:cNvSpPr/>
          <p:nvPr userDrawn="1"/>
        </p:nvSpPr>
        <p:spPr bwMode="auto">
          <a:xfrm>
            <a:off x="3157198" y="4223088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MO sans impact sur rémunération</a:t>
            </a:r>
          </a:p>
        </p:txBody>
      </p:sp>
      <p:cxnSp>
        <p:nvCxnSpPr>
          <p:cNvPr id="101" name="Straight Connector 34"/>
          <p:cNvCxnSpPr>
            <a:stCxn id="72" idx="3"/>
            <a:endCxn id="100" idx="1"/>
          </p:cNvCxnSpPr>
          <p:nvPr userDrawn="1"/>
        </p:nvCxnSpPr>
        <p:spPr bwMode="auto">
          <a:xfrm>
            <a:off x="2580974" y="3461194"/>
            <a:ext cx="576224" cy="112189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2" name="Rectangle 101"/>
          <p:cNvSpPr/>
          <p:nvPr userDrawn="1"/>
        </p:nvSpPr>
        <p:spPr bwMode="auto">
          <a:xfrm>
            <a:off x="6198602" y="4223088"/>
            <a:ext cx="793957" cy="72000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  <a:endParaRPr lang="fr-FR" sz="1050" i="1" kern="0" dirty="0">
              <a:solidFill>
                <a:srgbClr val="FF0000"/>
              </a:solidFill>
              <a:latin typeface="+mn-lt"/>
              <a:cs typeface="ＭＳ Ｐゴシック"/>
            </a:endParaRPr>
          </a:p>
        </p:txBody>
      </p:sp>
      <p:sp>
        <p:nvSpPr>
          <p:cNvPr id="73" name="TextBox 29"/>
          <p:cNvSpPr txBox="1"/>
          <p:nvPr userDrawn="1"/>
        </p:nvSpPr>
        <p:spPr>
          <a:xfrm>
            <a:off x="6001514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sp>
        <p:nvSpPr>
          <p:cNvPr id="118" name="Rectangle 117"/>
          <p:cNvSpPr/>
          <p:nvPr userDrawn="1"/>
        </p:nvSpPr>
        <p:spPr bwMode="auto">
          <a:xfrm>
            <a:off x="8699945" y="1628848"/>
            <a:ext cx="793957" cy="342634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22" name="Straight Connector 66"/>
          <p:cNvCxnSpPr/>
          <p:nvPr userDrawn="1"/>
        </p:nvCxnSpPr>
        <p:spPr bwMode="auto">
          <a:xfrm>
            <a:off x="7169481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68"/>
          <p:cNvCxnSpPr/>
          <p:nvPr userDrawn="1"/>
        </p:nvCxnSpPr>
        <p:spPr bwMode="auto">
          <a:xfrm>
            <a:off x="8425475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54" name="Image 5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2" name="Groupe 51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55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6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7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9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0" name="Groupe 5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3" name="Rectangle 6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" name="ZoneTexte 6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46" name="Rectangle 45"/>
          <p:cNvSpPr/>
          <p:nvPr userDrawn="1"/>
        </p:nvSpPr>
        <p:spPr bwMode="auto">
          <a:xfrm>
            <a:off x="7400500" y="4233465"/>
            <a:ext cx="793957" cy="72000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  <a:endParaRPr lang="fr-FR" sz="1050" i="1" kern="0" dirty="0">
              <a:solidFill>
                <a:srgbClr val="FF0000"/>
              </a:solidFill>
              <a:latin typeface="+mn-lt"/>
              <a:cs typeface="ＭＳ Ｐゴシック"/>
            </a:endParaRPr>
          </a:p>
        </p:txBody>
      </p:sp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906" y="2148370"/>
            <a:ext cx="318039" cy="336260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8459" y="2181420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0630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asque CIT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ctangle 79"/>
          <p:cNvSpPr/>
          <p:nvPr userDrawn="1"/>
        </p:nvSpPr>
        <p:spPr bwMode="auto">
          <a:xfrm>
            <a:off x="7773764" y="3573016"/>
            <a:ext cx="975266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ABS0104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6673633" y="3573016"/>
            <a:ext cx="1059025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ABS0102</a:t>
            </a:r>
          </a:p>
        </p:txBody>
      </p:sp>
      <p:sp>
        <p:nvSpPr>
          <p:cNvPr id="58" name="Rectangle 57"/>
          <p:cNvSpPr/>
          <p:nvPr userDrawn="1"/>
        </p:nvSpPr>
        <p:spPr bwMode="auto">
          <a:xfrm>
            <a:off x="7761312" y="2507709"/>
            <a:ext cx="975266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ABS0096</a:t>
            </a:r>
            <a:endParaRPr lang="fr-FR" sz="9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6693889" y="2503163"/>
            <a:ext cx="1059025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ABS0098</a:t>
            </a: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650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ongés d’invalidité temporaire imputable</a:t>
            </a:r>
          </a:p>
          <a:p>
            <a:pPr eaLnBrk="1" hangingPunct="1"/>
            <a:r>
              <a:rPr lang="fr-FR" sz="1800" kern="0" dirty="0"/>
              <a:t> au service = CITIS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1244588" y="3094353"/>
            <a:ext cx="1620000" cy="84475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 CITIS (ou CITIS à titre provisoire) imputable au service 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653417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737292" y="1256138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6759259" y="1292146"/>
            <a:ext cx="9889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sp>
        <p:nvSpPr>
          <p:cNvPr id="116" name="Rectangle 115"/>
          <p:cNvSpPr/>
          <p:nvPr userDrawn="1"/>
        </p:nvSpPr>
        <p:spPr bwMode="auto">
          <a:xfrm>
            <a:off x="8767555" y="1628847"/>
            <a:ext cx="793957" cy="363207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 d’acte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 flipH="1">
            <a:off x="6656869" y="1191377"/>
            <a:ext cx="11967" cy="403280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753233" y="1232400"/>
            <a:ext cx="0" cy="402348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433188" y="3516729"/>
            <a:ext cx="2311900" cy="92489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CITIS à titre provisoir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99 (initial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02 (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rolong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.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04 (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qualif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’ maladie en CITIS provisoire)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3433188" y="2456892"/>
            <a:ext cx="2311900" cy="80938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CITI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95 (initial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98 (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rolong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.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96 (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qualif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’ maladie en CITIS)</a:t>
            </a:r>
          </a:p>
        </p:txBody>
      </p:sp>
      <p:cxnSp>
        <p:nvCxnSpPr>
          <p:cNvPr id="19" name="Connecteur droit 18"/>
          <p:cNvCxnSpPr>
            <a:stCxn id="74" idx="3"/>
          </p:cNvCxnSpPr>
          <p:nvPr userDrawn="1"/>
        </p:nvCxnSpPr>
        <p:spPr bwMode="auto">
          <a:xfrm flipV="1">
            <a:off x="2864588" y="2861585"/>
            <a:ext cx="568600" cy="65514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Connecteur droit 20"/>
          <p:cNvCxnSpPr>
            <a:stCxn id="74" idx="3"/>
            <a:endCxn id="78" idx="1"/>
          </p:cNvCxnSpPr>
          <p:nvPr userDrawn="1"/>
        </p:nvCxnSpPr>
        <p:spPr bwMode="auto">
          <a:xfrm>
            <a:off x="2864588" y="3516730"/>
            <a:ext cx="568600" cy="46244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Connecteur droit 22"/>
          <p:cNvCxnSpPr/>
          <p:nvPr userDrawn="1"/>
        </p:nvCxnSpPr>
        <p:spPr bwMode="auto">
          <a:xfrm>
            <a:off x="4373631" y="4800004"/>
            <a:ext cx="914400" cy="962521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54"/>
          <p:cNvSpPr txBox="1"/>
          <p:nvPr userDrawn="1"/>
        </p:nvSpPr>
        <p:spPr>
          <a:xfrm>
            <a:off x="6642893" y="184780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5" name="TextBox 54"/>
          <p:cNvSpPr txBox="1"/>
          <p:nvPr userDrawn="1"/>
        </p:nvSpPr>
        <p:spPr>
          <a:xfrm>
            <a:off x="6642893" y="2943236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8" name="TextBox 54"/>
          <p:cNvSpPr txBox="1"/>
          <p:nvPr userDrawn="1"/>
        </p:nvSpPr>
        <p:spPr>
          <a:xfrm>
            <a:off x="7689304" y="2842813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9" name="TextBox 54"/>
          <p:cNvSpPr txBox="1"/>
          <p:nvPr userDrawn="1"/>
        </p:nvSpPr>
        <p:spPr>
          <a:xfrm>
            <a:off x="6642893" y="4062638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7" name="Rectangle 66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60" name="Image 5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6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4" name="Groupe 6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8" name="Rectangle 67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0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5" name="ZoneTexte 84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6" name="Image 8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87" name="TextBox 54"/>
          <p:cNvSpPr txBox="1"/>
          <p:nvPr userDrawn="1"/>
        </p:nvSpPr>
        <p:spPr>
          <a:xfrm>
            <a:off x="6472437" y="6340688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grpSp>
        <p:nvGrpSpPr>
          <p:cNvPr id="88" name="Groupe 8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8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9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3" name="Rectangle à coins arrondis 2"/>
          <p:cNvSpPr/>
          <p:nvPr userDrawn="1"/>
        </p:nvSpPr>
        <p:spPr bwMode="auto">
          <a:xfrm>
            <a:off x="1092525" y="2015963"/>
            <a:ext cx="1666928" cy="303598"/>
          </a:xfrm>
          <a:prstGeom prst="wedgeRoundRectCallout">
            <a:avLst>
              <a:gd name="adj1" fmla="val -17785"/>
              <a:gd name="adj2" fmla="val -75322"/>
              <a:gd name="adj3" fmla="val 16667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FF9933"/>
                </a:solidFill>
                <a:latin typeface="+mn-lt"/>
                <a:cs typeface="ＭＳ Ｐゴシック"/>
                <a:hlinkClick r:id="rId14" action="ppaction://hlinksldjump"/>
              </a:rPr>
              <a:t>CF page 4</a:t>
            </a:r>
            <a:endParaRPr lang="fr-FR" sz="1200" b="1" kern="0" dirty="0">
              <a:solidFill>
                <a:srgbClr val="FF9933"/>
              </a:solidFill>
              <a:latin typeface="+mn-lt"/>
              <a:cs typeface="ＭＳ Ｐゴシック"/>
            </a:endParaRPr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272" y="1292146"/>
            <a:ext cx="544818" cy="546934"/>
          </a:xfrm>
          <a:prstGeom prst="rect">
            <a:avLst/>
          </a:prstGeom>
        </p:spPr>
      </p:pic>
      <p:sp>
        <p:nvSpPr>
          <p:cNvPr id="22" name="Rectangle à coins arrondis 21"/>
          <p:cNvSpPr/>
          <p:nvPr userDrawn="1"/>
        </p:nvSpPr>
        <p:spPr bwMode="auto">
          <a:xfrm>
            <a:off x="3666802" y="4509120"/>
            <a:ext cx="2006278" cy="895793"/>
          </a:xfrm>
          <a:prstGeom prst="wedgeRoundRectCallout">
            <a:avLst>
              <a:gd name="adj1" fmla="val 55082"/>
              <a:gd name="adj2" fmla="val -51844"/>
              <a:gd name="adj3" fmla="val 16667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kern="0" dirty="0">
                <a:solidFill>
                  <a:srgbClr val="004272"/>
                </a:solidFill>
                <a:latin typeface="+mn-lt"/>
                <a:cs typeface="ＭＳ Ｐゴシック"/>
              </a:rPr>
              <a:t>En cas de retrait, il faudra requalifier l’acte en CMO, CLM ou CLD </a:t>
            </a:r>
          </a:p>
        </p:txBody>
      </p:sp>
      <p:pic>
        <p:nvPicPr>
          <p:cNvPr id="25" name="Image 24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5391" y="4149080"/>
            <a:ext cx="263713" cy="317952"/>
          </a:xfrm>
          <a:prstGeom prst="rect">
            <a:avLst/>
          </a:prstGeom>
        </p:spPr>
      </p:pic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3832" y="2724065"/>
            <a:ext cx="318039" cy="336260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5355" y="3826504"/>
            <a:ext cx="318039" cy="336260"/>
          </a:xfrm>
          <a:prstGeom prst="rect">
            <a:avLst/>
          </a:prstGeom>
        </p:spPr>
      </p:pic>
      <p:cxnSp>
        <p:nvCxnSpPr>
          <p:cNvPr id="72" name="Straight Connector 66"/>
          <p:cNvCxnSpPr/>
          <p:nvPr userDrawn="1"/>
        </p:nvCxnSpPr>
        <p:spPr bwMode="auto">
          <a:xfrm flipH="1">
            <a:off x="7742182" y="1215201"/>
            <a:ext cx="11967" cy="403280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2" name="TextBox 69"/>
          <p:cNvSpPr txBox="1"/>
          <p:nvPr userDrawn="1"/>
        </p:nvSpPr>
        <p:spPr>
          <a:xfrm>
            <a:off x="7653300" y="1304764"/>
            <a:ext cx="11521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qualification</a:t>
            </a:r>
          </a:p>
        </p:txBody>
      </p:sp>
      <p:pic>
        <p:nvPicPr>
          <p:cNvPr id="83" name="Image 8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4296" y="2758820"/>
            <a:ext cx="318039" cy="336260"/>
          </a:xfrm>
          <a:prstGeom prst="rect">
            <a:avLst/>
          </a:prstGeom>
        </p:spPr>
      </p:pic>
      <p:pic>
        <p:nvPicPr>
          <p:cNvPr id="84" name="Image 8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4904" y="2745105"/>
            <a:ext cx="318039" cy="336260"/>
          </a:xfrm>
          <a:prstGeom prst="rect">
            <a:avLst/>
          </a:prstGeom>
        </p:spPr>
      </p:pic>
      <p:pic>
        <p:nvPicPr>
          <p:cNvPr id="91" name="Image 9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25" y="3825044"/>
            <a:ext cx="318039" cy="336260"/>
          </a:xfrm>
          <a:prstGeom prst="rect">
            <a:avLst/>
          </a:prstGeom>
        </p:spPr>
      </p:pic>
      <p:pic>
        <p:nvPicPr>
          <p:cNvPr id="93" name="Image 9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985" y="3825044"/>
            <a:ext cx="318039" cy="336260"/>
          </a:xfrm>
          <a:prstGeom prst="rect">
            <a:avLst/>
          </a:prstGeom>
        </p:spPr>
      </p:pic>
      <p:sp>
        <p:nvSpPr>
          <p:cNvPr id="94" name="Rectangle 93"/>
          <p:cNvSpPr/>
          <p:nvPr userDrawn="1"/>
        </p:nvSpPr>
        <p:spPr bwMode="auto">
          <a:xfrm>
            <a:off x="1244588" y="4171875"/>
            <a:ext cx="1620000" cy="131992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connaissance imputabilité</a:t>
            </a:r>
          </a:p>
          <a:p>
            <a:pPr algn="ctr" eaLnBrk="1" hangingPunct="1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00</a:t>
            </a:r>
          </a:p>
          <a:p>
            <a:pPr algn="ctr" eaLnBrk="1" hangingPunct="1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fus reconnaissance imputabilité</a:t>
            </a:r>
          </a:p>
          <a:p>
            <a:pPr algn="ctr" eaLnBrk="1" hangingPunct="1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01</a:t>
            </a:r>
          </a:p>
        </p:txBody>
      </p:sp>
      <p:pic>
        <p:nvPicPr>
          <p:cNvPr id="9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484659" y="509638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493567" y="461665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473223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sque CLM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650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longue maladie</a:t>
            </a:r>
          </a:p>
          <a:p>
            <a:pPr eaLnBrk="1" hangingPunct="1"/>
            <a:r>
              <a:rPr lang="fr-FR" sz="1800" kern="0" dirty="0"/>
              <a:t>(1/2)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7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956556" y="299695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de longue maladie (CLM)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793783" y="2944287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longue maladie (CLM) contractée dans l’exercice des fonctions</a:t>
            </a:r>
          </a:p>
        </p:txBody>
      </p:sp>
      <p:cxnSp>
        <p:nvCxnSpPr>
          <p:cNvPr id="75" name="Straight Connector 34"/>
          <p:cNvCxnSpPr>
            <a:endCxn id="74" idx="1"/>
          </p:cNvCxnSpPr>
          <p:nvPr userDrawn="1"/>
        </p:nvCxnSpPr>
        <p:spPr bwMode="auto">
          <a:xfrm>
            <a:off x="2416632" y="3304287"/>
            <a:ext cx="377151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6213140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17396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5725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sp>
        <p:nvSpPr>
          <p:cNvPr id="116" name="Rectangle 115"/>
          <p:cNvSpPr/>
          <p:nvPr userDrawn="1"/>
        </p:nvSpPr>
        <p:spPr bwMode="auto">
          <a:xfrm>
            <a:off x="8703459" y="1603671"/>
            <a:ext cx="793957" cy="363207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 flipH="1">
            <a:off x="7294761" y="1196752"/>
            <a:ext cx="11967" cy="403280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21077" y="1340768"/>
            <a:ext cx="0" cy="387946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4788064" y="3489436"/>
            <a:ext cx="1620000" cy="76453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M fractionné contracté dans l’exercice des fonctions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4788064" y="2399138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M contracté dan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l’exercice des fonctions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</a:p>
        </p:txBody>
      </p:sp>
      <p:cxnSp>
        <p:nvCxnSpPr>
          <p:cNvPr id="19" name="Connecteur droit 18"/>
          <p:cNvCxnSpPr>
            <a:stCxn id="74" idx="3"/>
            <a:endCxn id="79" idx="1"/>
          </p:cNvCxnSpPr>
          <p:nvPr userDrawn="1"/>
        </p:nvCxnSpPr>
        <p:spPr bwMode="auto">
          <a:xfrm flipV="1">
            <a:off x="4413783" y="2759138"/>
            <a:ext cx="374281" cy="545149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Connecteur droit 20"/>
          <p:cNvCxnSpPr>
            <a:stCxn id="74" idx="3"/>
            <a:endCxn id="78" idx="1"/>
          </p:cNvCxnSpPr>
          <p:nvPr userDrawn="1"/>
        </p:nvCxnSpPr>
        <p:spPr bwMode="auto">
          <a:xfrm>
            <a:off x="4413783" y="3304287"/>
            <a:ext cx="374281" cy="56741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Connecteur droit 22"/>
          <p:cNvCxnSpPr/>
          <p:nvPr userDrawn="1"/>
        </p:nvCxnSpPr>
        <p:spPr bwMode="auto">
          <a:xfrm>
            <a:off x="4373631" y="4800004"/>
            <a:ext cx="914400" cy="962521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54"/>
          <p:cNvSpPr txBox="1"/>
          <p:nvPr userDrawn="1"/>
        </p:nvSpPr>
        <p:spPr>
          <a:xfrm>
            <a:off x="6642893" y="184780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5" name="TextBox 54"/>
          <p:cNvSpPr txBox="1"/>
          <p:nvPr userDrawn="1"/>
        </p:nvSpPr>
        <p:spPr>
          <a:xfrm>
            <a:off x="6642893" y="2943236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8" name="TextBox 54"/>
          <p:cNvSpPr txBox="1"/>
          <p:nvPr userDrawn="1"/>
        </p:nvSpPr>
        <p:spPr>
          <a:xfrm>
            <a:off x="7689304" y="2842813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9" name="TextBox 54"/>
          <p:cNvSpPr txBox="1"/>
          <p:nvPr userDrawn="1"/>
        </p:nvSpPr>
        <p:spPr>
          <a:xfrm>
            <a:off x="6642893" y="4062638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52" name="TextBox 54"/>
          <p:cNvSpPr txBox="1"/>
          <p:nvPr userDrawn="1"/>
        </p:nvSpPr>
        <p:spPr>
          <a:xfrm>
            <a:off x="7689304" y="2909000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7" name="Rectangle 66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60" name="Image 5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6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4" name="Groupe 6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8" name="Rectangle 67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0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5" name="ZoneTexte 84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6" name="Image 8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87" name="TextBox 54"/>
          <p:cNvSpPr txBox="1"/>
          <p:nvPr userDrawn="1"/>
        </p:nvSpPr>
        <p:spPr>
          <a:xfrm>
            <a:off x="6472437" y="6340688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grpSp>
        <p:nvGrpSpPr>
          <p:cNvPr id="88" name="Groupe 87"/>
          <p:cNvGrpSpPr/>
          <p:nvPr userDrawn="1"/>
        </p:nvGrpSpPr>
        <p:grpSpPr>
          <a:xfrm>
            <a:off x="6472437" y="6293167"/>
            <a:ext cx="2649387" cy="272288"/>
            <a:chOff x="5719035" y="6231640"/>
            <a:chExt cx="2649387" cy="342577"/>
          </a:xfrm>
        </p:grpSpPr>
        <p:sp>
          <p:nvSpPr>
            <p:cNvPr id="8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9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3" name="Rectangle à coins arrondis 2"/>
          <p:cNvSpPr/>
          <p:nvPr userDrawn="1"/>
        </p:nvSpPr>
        <p:spPr bwMode="auto">
          <a:xfrm>
            <a:off x="1092525" y="1888352"/>
            <a:ext cx="1666928" cy="743175"/>
          </a:xfrm>
          <a:prstGeom prst="wedgeRoundRectCallout">
            <a:avLst>
              <a:gd name="adj1" fmla="val -17785"/>
              <a:gd name="adj2" fmla="val -75322"/>
              <a:gd name="adj3" fmla="val 16667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FF9933"/>
                </a:solidFill>
                <a:latin typeface="+mn-lt"/>
                <a:cs typeface="ＭＳ Ｐゴシック"/>
              </a:rPr>
              <a:t>CF page 4</a:t>
            </a:r>
          </a:p>
          <a:p>
            <a:pPr algn="ctr"/>
            <a:r>
              <a:rPr lang="fr-FR" sz="1200" kern="0" dirty="0">
                <a:solidFill>
                  <a:srgbClr val="004272"/>
                </a:solidFill>
                <a:latin typeface="+mn-lt"/>
                <a:cs typeface="ＭＳ Ｐゴシック"/>
              </a:rPr>
              <a:t>Acte substitué</a:t>
            </a:r>
          </a:p>
          <a:p>
            <a:pPr algn="ctr"/>
            <a:r>
              <a:rPr lang="fr-FR" sz="1200" kern="0" dirty="0">
                <a:solidFill>
                  <a:srgbClr val="004272"/>
                </a:solidFill>
                <a:latin typeface="+mn-lt"/>
                <a:cs typeface="ＭＳ Ｐゴシック"/>
              </a:rPr>
              <a:t> par l’acte CITIS</a:t>
            </a:r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3850" y="1150905"/>
            <a:ext cx="544818" cy="546934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1819" y="3145607"/>
            <a:ext cx="275649" cy="276720"/>
          </a:xfrm>
          <a:prstGeom prst="rect">
            <a:avLst/>
          </a:prstGeom>
        </p:spPr>
      </p:pic>
      <p:sp>
        <p:nvSpPr>
          <p:cNvPr id="55" name="Rectangle 54"/>
          <p:cNvSpPr/>
          <p:nvPr userDrawn="1"/>
        </p:nvSpPr>
        <p:spPr bwMode="auto">
          <a:xfrm>
            <a:off x="7528655" y="1603672"/>
            <a:ext cx="793957" cy="363207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objet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6535732" y="1603672"/>
            <a:ext cx="793957" cy="363207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</p:spTree>
    <p:extLst>
      <p:ext uri="{BB962C8B-B14F-4D97-AF65-F5344CB8AC3E}">
        <p14:creationId xmlns:p14="http://schemas.microsoft.com/office/powerpoint/2010/main" val="35680463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sque CLM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/>
          <p:cNvSpPr/>
          <p:nvPr userDrawn="1"/>
        </p:nvSpPr>
        <p:spPr bwMode="auto">
          <a:xfrm>
            <a:off x="7289385" y="1714007"/>
            <a:ext cx="1107670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ABS0006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650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longue maladie</a:t>
            </a:r>
            <a:r>
              <a:rPr lang="fr-FR" sz="1800" kern="0" baseline="0" dirty="0"/>
              <a:t> </a:t>
            </a:r>
            <a:r>
              <a:rPr lang="fr-FR" sz="1800" kern="0" dirty="0"/>
              <a:t>(2/2)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1052458" y="3127946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longue maladie (CLM) contracté hors exerci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es fonctions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3" name="TextBox 29"/>
          <p:cNvSpPr txBox="1"/>
          <p:nvPr userDrawn="1"/>
        </p:nvSpPr>
        <p:spPr>
          <a:xfrm>
            <a:off x="6213140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17396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5725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sp>
        <p:nvSpPr>
          <p:cNvPr id="116" name="Rectangle 115"/>
          <p:cNvSpPr/>
          <p:nvPr userDrawn="1"/>
        </p:nvSpPr>
        <p:spPr bwMode="auto">
          <a:xfrm>
            <a:off x="8695547" y="1628847"/>
            <a:ext cx="793957" cy="354493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 d’acte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 flipH="1">
            <a:off x="7306729" y="1609457"/>
            <a:ext cx="1" cy="35924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21077" y="1623397"/>
            <a:ext cx="0" cy="36375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/>
          <p:cNvSpPr/>
          <p:nvPr userDrawn="1"/>
        </p:nvSpPr>
        <p:spPr bwMode="auto">
          <a:xfrm>
            <a:off x="4112236" y="1698899"/>
            <a:ext cx="171555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M contracté hors exercice des fonction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05 (initial)</a:t>
            </a: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4098905" y="2644288"/>
            <a:ext cx="172089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M fractionné contracté hors exercice des fonctions</a:t>
            </a:r>
          </a:p>
        </p:txBody>
      </p:sp>
      <p:cxnSp>
        <p:nvCxnSpPr>
          <p:cNvPr id="23" name="Connecteur droit 22"/>
          <p:cNvCxnSpPr>
            <a:stCxn id="102" idx="3"/>
          </p:cNvCxnSpPr>
          <p:nvPr userDrawn="1"/>
        </p:nvCxnSpPr>
        <p:spPr bwMode="auto">
          <a:xfrm>
            <a:off x="2672458" y="3487946"/>
            <a:ext cx="914400" cy="962521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Connecteur droit 24"/>
          <p:cNvCxnSpPr>
            <a:stCxn id="102" idx="3"/>
            <a:endCxn id="95" idx="1"/>
          </p:cNvCxnSpPr>
          <p:nvPr userDrawn="1"/>
        </p:nvCxnSpPr>
        <p:spPr bwMode="auto">
          <a:xfrm flipV="1">
            <a:off x="2672458" y="2058899"/>
            <a:ext cx="1439778" cy="1429047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Connecteur droit 26"/>
          <p:cNvCxnSpPr>
            <a:stCxn id="102" idx="3"/>
            <a:endCxn id="96" idx="1"/>
          </p:cNvCxnSpPr>
          <p:nvPr userDrawn="1"/>
        </p:nvCxnSpPr>
        <p:spPr bwMode="auto">
          <a:xfrm flipV="1">
            <a:off x="2672458" y="3004288"/>
            <a:ext cx="1426447" cy="483658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54"/>
          <p:cNvSpPr txBox="1"/>
          <p:nvPr userDrawn="1"/>
        </p:nvSpPr>
        <p:spPr>
          <a:xfrm>
            <a:off x="6642893" y="184780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5" name="TextBox 54"/>
          <p:cNvSpPr txBox="1"/>
          <p:nvPr userDrawn="1"/>
        </p:nvSpPr>
        <p:spPr>
          <a:xfrm>
            <a:off x="6642893" y="2943236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8" name="TextBox 54"/>
          <p:cNvSpPr txBox="1"/>
          <p:nvPr userDrawn="1"/>
        </p:nvSpPr>
        <p:spPr>
          <a:xfrm>
            <a:off x="7689304" y="2842813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9" name="TextBox 54"/>
          <p:cNvSpPr txBox="1"/>
          <p:nvPr userDrawn="1"/>
        </p:nvSpPr>
        <p:spPr>
          <a:xfrm>
            <a:off x="6642893" y="4062638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52" name="TextBox 54"/>
          <p:cNvSpPr txBox="1"/>
          <p:nvPr userDrawn="1"/>
        </p:nvSpPr>
        <p:spPr>
          <a:xfrm>
            <a:off x="7689304" y="2909000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grpSp>
        <p:nvGrpSpPr>
          <p:cNvPr id="99" name="Groupe 98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10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10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7" name="Rectangle 66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60" name="Image 5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6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3" name="Image 62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5" name="Groupe 6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8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0" name="Rectangle 69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1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6" name="ZoneTexte 8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7" name="Image 8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50" name="Image 4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8186" y="1833109"/>
            <a:ext cx="318039" cy="336260"/>
          </a:xfrm>
          <a:prstGeom prst="rect">
            <a:avLst/>
          </a:prstGeom>
        </p:spPr>
      </p:pic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8725" y="1952836"/>
            <a:ext cx="318039" cy="336260"/>
          </a:xfrm>
          <a:prstGeom prst="rect">
            <a:avLst/>
          </a:prstGeom>
        </p:spPr>
      </p:pic>
      <p:sp>
        <p:nvSpPr>
          <p:cNvPr id="55" name="Rectangle 54"/>
          <p:cNvSpPr/>
          <p:nvPr userDrawn="1"/>
        </p:nvSpPr>
        <p:spPr bwMode="auto">
          <a:xfrm>
            <a:off x="4146160" y="4401188"/>
            <a:ext cx="172089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fus CLM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38</a:t>
            </a:r>
          </a:p>
        </p:txBody>
      </p:sp>
      <p:sp>
        <p:nvSpPr>
          <p:cNvPr id="61" name="Rectangle 60"/>
          <p:cNvSpPr/>
          <p:nvPr userDrawn="1"/>
        </p:nvSpPr>
        <p:spPr bwMode="auto">
          <a:xfrm>
            <a:off x="4134048" y="3522738"/>
            <a:ext cx="172089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qualificati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CMO en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M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05</a:t>
            </a:r>
          </a:p>
        </p:txBody>
      </p:sp>
      <p:cxnSp>
        <p:nvCxnSpPr>
          <p:cNvPr id="69" name="Connecteur droit 68"/>
          <p:cNvCxnSpPr>
            <a:stCxn id="102" idx="3"/>
            <a:endCxn id="61" idx="1"/>
          </p:cNvCxnSpPr>
          <p:nvPr userDrawn="1"/>
        </p:nvCxnSpPr>
        <p:spPr bwMode="auto">
          <a:xfrm>
            <a:off x="2672458" y="3487946"/>
            <a:ext cx="1461590" cy="394792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Connecteur droit 73"/>
          <p:cNvCxnSpPr/>
          <p:nvPr userDrawn="1"/>
        </p:nvCxnSpPr>
        <p:spPr bwMode="auto">
          <a:xfrm>
            <a:off x="2672458" y="3502245"/>
            <a:ext cx="1473702" cy="1273242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5" name="Rectangle 74"/>
          <p:cNvSpPr/>
          <p:nvPr userDrawn="1"/>
        </p:nvSpPr>
        <p:spPr bwMode="auto">
          <a:xfrm>
            <a:off x="7464619" y="3522737"/>
            <a:ext cx="798568" cy="165839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6" name="Rectangle 55"/>
          <p:cNvSpPr/>
          <p:nvPr userDrawn="1"/>
        </p:nvSpPr>
        <p:spPr bwMode="auto">
          <a:xfrm>
            <a:off x="6366985" y="2648877"/>
            <a:ext cx="1859191" cy="72014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 d’acte BDA</a:t>
            </a:r>
          </a:p>
        </p:txBody>
      </p:sp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893" y="3679816"/>
            <a:ext cx="318039" cy="336260"/>
          </a:xfrm>
          <a:prstGeom prst="rect">
            <a:avLst/>
          </a:prstGeom>
        </p:spPr>
      </p:pic>
      <p:pic>
        <p:nvPicPr>
          <p:cNvPr id="5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78099" y="462804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953573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LD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794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longue durée (1/2)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4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996958" y="3144713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longue durée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(</a:t>
            </a:r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LD)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794033" y="3144713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longue durée (CLD) contractée dans l’exercice des fonctions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436958" y="3504713"/>
            <a:ext cx="357075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625354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97658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sp>
        <p:nvSpPr>
          <p:cNvPr id="116" name="Rectangle 115"/>
          <p:cNvSpPr/>
          <p:nvPr userDrawn="1"/>
        </p:nvSpPr>
        <p:spPr bwMode="auto">
          <a:xfrm>
            <a:off x="8744801" y="2006904"/>
            <a:ext cx="793957" cy="279576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347130" y="1340768"/>
            <a:ext cx="0" cy="390734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61479" y="1340768"/>
            <a:ext cx="0" cy="387946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4771108" y="3744549"/>
            <a:ext cx="1620000" cy="76453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D fractionné contracté dans l’exercice des fonctions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4779896" y="2451899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D contracté dan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l’exercice des fonctions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19" name="Connecteur droit 18"/>
          <p:cNvCxnSpPr>
            <a:stCxn id="74" idx="3"/>
            <a:endCxn id="79" idx="1"/>
          </p:cNvCxnSpPr>
          <p:nvPr userDrawn="1"/>
        </p:nvCxnSpPr>
        <p:spPr bwMode="auto">
          <a:xfrm flipV="1">
            <a:off x="4414033" y="2811899"/>
            <a:ext cx="365863" cy="692814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Connecteur droit 20"/>
          <p:cNvCxnSpPr>
            <a:stCxn id="74" idx="3"/>
            <a:endCxn id="78" idx="1"/>
          </p:cNvCxnSpPr>
          <p:nvPr userDrawn="1"/>
        </p:nvCxnSpPr>
        <p:spPr bwMode="auto">
          <a:xfrm>
            <a:off x="4414033" y="3504713"/>
            <a:ext cx="357075" cy="622102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Connecteur droit 22"/>
          <p:cNvCxnSpPr/>
          <p:nvPr userDrawn="1"/>
        </p:nvCxnSpPr>
        <p:spPr bwMode="auto">
          <a:xfrm>
            <a:off x="4414033" y="4509080"/>
            <a:ext cx="914400" cy="962521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54"/>
          <p:cNvSpPr txBox="1"/>
          <p:nvPr userDrawn="1"/>
        </p:nvSpPr>
        <p:spPr>
          <a:xfrm>
            <a:off x="6667588" y="184780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5" name="TextBox 54"/>
          <p:cNvSpPr txBox="1"/>
          <p:nvPr userDrawn="1"/>
        </p:nvSpPr>
        <p:spPr>
          <a:xfrm>
            <a:off x="6667588" y="2881232"/>
            <a:ext cx="396044" cy="3447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8" name="TextBox 54"/>
          <p:cNvSpPr txBox="1"/>
          <p:nvPr userDrawn="1"/>
        </p:nvSpPr>
        <p:spPr>
          <a:xfrm>
            <a:off x="7686414" y="2842813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52" name="TextBox 54"/>
          <p:cNvSpPr txBox="1"/>
          <p:nvPr userDrawn="1"/>
        </p:nvSpPr>
        <p:spPr>
          <a:xfrm>
            <a:off x="7686414" y="2909000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2" name="TextBox 54"/>
          <p:cNvSpPr txBox="1"/>
          <p:nvPr userDrawn="1"/>
        </p:nvSpPr>
        <p:spPr>
          <a:xfrm>
            <a:off x="7686414" y="5089641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3" name="Rectangle 62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64" name="Image 6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0" name="Groupe 59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1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7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2" name="Groupe 81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5" name="Rectangle 84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6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" name="ZoneTexte 87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9" name="Image 8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93" name="Image 92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938" y="1093909"/>
            <a:ext cx="544818" cy="546934"/>
          </a:xfrm>
          <a:prstGeom prst="rect">
            <a:avLst/>
          </a:prstGeom>
        </p:spPr>
      </p:pic>
      <p:pic>
        <p:nvPicPr>
          <p:cNvPr id="94" name="Image 93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9396" y="3400684"/>
            <a:ext cx="275649" cy="276720"/>
          </a:xfrm>
          <a:prstGeom prst="rect">
            <a:avLst/>
          </a:prstGeom>
        </p:spPr>
      </p:pic>
      <p:sp>
        <p:nvSpPr>
          <p:cNvPr id="97" name="Rectangle à coins arrondis 96"/>
          <p:cNvSpPr/>
          <p:nvPr userDrawn="1"/>
        </p:nvSpPr>
        <p:spPr bwMode="auto">
          <a:xfrm>
            <a:off x="955544" y="1812581"/>
            <a:ext cx="1666928" cy="743175"/>
          </a:xfrm>
          <a:prstGeom prst="wedgeRoundRectCallout">
            <a:avLst>
              <a:gd name="adj1" fmla="val -17785"/>
              <a:gd name="adj2" fmla="val -75322"/>
              <a:gd name="adj3" fmla="val 16667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FF9933"/>
                </a:solidFill>
                <a:latin typeface="+mn-lt"/>
                <a:cs typeface="ＭＳ Ｐゴシック"/>
              </a:rPr>
              <a:t>CF page 4</a:t>
            </a:r>
          </a:p>
          <a:p>
            <a:pPr algn="ctr"/>
            <a:r>
              <a:rPr lang="fr-FR" sz="1200" kern="0" dirty="0">
                <a:solidFill>
                  <a:srgbClr val="004272"/>
                </a:solidFill>
                <a:latin typeface="+mn-lt"/>
                <a:cs typeface="ＭＳ Ｐゴシック"/>
              </a:rPr>
              <a:t>Acte substitué</a:t>
            </a:r>
          </a:p>
          <a:p>
            <a:pPr algn="ctr"/>
            <a:r>
              <a:rPr lang="fr-FR" sz="1200" kern="0" dirty="0">
                <a:solidFill>
                  <a:srgbClr val="004272"/>
                </a:solidFill>
                <a:latin typeface="+mn-lt"/>
                <a:cs typeface="ＭＳ Ｐゴシック"/>
              </a:rPr>
              <a:t> par l’acte CITIS</a:t>
            </a:r>
          </a:p>
        </p:txBody>
      </p:sp>
      <p:sp>
        <p:nvSpPr>
          <p:cNvPr id="98" name="Rectangle 97"/>
          <p:cNvSpPr/>
          <p:nvPr userDrawn="1"/>
        </p:nvSpPr>
        <p:spPr bwMode="auto">
          <a:xfrm>
            <a:off x="7484696" y="2006904"/>
            <a:ext cx="793957" cy="279576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9" name="Rectangle 98"/>
          <p:cNvSpPr/>
          <p:nvPr userDrawn="1"/>
        </p:nvSpPr>
        <p:spPr bwMode="auto">
          <a:xfrm>
            <a:off x="6459529" y="2006904"/>
            <a:ext cx="798568" cy="279576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</p:spTree>
    <p:extLst>
      <p:ext uri="{BB962C8B-B14F-4D97-AF65-F5344CB8AC3E}">
        <p14:creationId xmlns:p14="http://schemas.microsoft.com/office/powerpoint/2010/main" val="35418196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CLD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/>
          <p:cNvSpPr/>
          <p:nvPr userDrawn="1"/>
        </p:nvSpPr>
        <p:spPr bwMode="auto">
          <a:xfrm>
            <a:off x="7364066" y="1804309"/>
            <a:ext cx="1114348" cy="67163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ABS0004</a:t>
            </a:r>
            <a:endParaRPr lang="fr-FR" sz="100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794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longue durée (2/2)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1208584" y="3177052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longue durée (CLD) contracté hors exerci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es fonctions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3" name="TextBox 29"/>
          <p:cNvSpPr txBox="1"/>
          <p:nvPr userDrawn="1"/>
        </p:nvSpPr>
        <p:spPr>
          <a:xfrm>
            <a:off x="625354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97658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347130" y="1340768"/>
            <a:ext cx="0" cy="390734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61479" y="1340768"/>
            <a:ext cx="0" cy="387946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/>
          <p:cNvSpPr/>
          <p:nvPr userDrawn="1"/>
        </p:nvSpPr>
        <p:spPr bwMode="auto">
          <a:xfrm>
            <a:off x="4791407" y="1930883"/>
            <a:ext cx="1620000" cy="5892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D </a:t>
            </a:r>
            <a:r>
              <a:rPr lang="fr-FR" sz="1050" i="1" kern="0" baseline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(initial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03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4789336" y="3231482"/>
            <a:ext cx="1620000" cy="59356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D fractionné</a:t>
            </a:r>
          </a:p>
        </p:txBody>
      </p:sp>
      <p:cxnSp>
        <p:nvCxnSpPr>
          <p:cNvPr id="23" name="Connecteur droit 22"/>
          <p:cNvCxnSpPr>
            <a:stCxn id="102" idx="3"/>
          </p:cNvCxnSpPr>
          <p:nvPr userDrawn="1"/>
        </p:nvCxnSpPr>
        <p:spPr bwMode="auto">
          <a:xfrm>
            <a:off x="2828584" y="3537052"/>
            <a:ext cx="914400" cy="962521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Connecteur droit 24"/>
          <p:cNvCxnSpPr>
            <a:stCxn id="102" idx="3"/>
            <a:endCxn id="95" idx="1"/>
          </p:cNvCxnSpPr>
          <p:nvPr userDrawn="1"/>
        </p:nvCxnSpPr>
        <p:spPr bwMode="auto">
          <a:xfrm flipV="1">
            <a:off x="2828584" y="2225509"/>
            <a:ext cx="1962823" cy="1311543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Connecteur droit 26"/>
          <p:cNvCxnSpPr>
            <a:stCxn id="102" idx="3"/>
            <a:endCxn id="96" idx="1"/>
          </p:cNvCxnSpPr>
          <p:nvPr userDrawn="1"/>
        </p:nvCxnSpPr>
        <p:spPr bwMode="auto">
          <a:xfrm flipV="1">
            <a:off x="2828584" y="3528263"/>
            <a:ext cx="1960752" cy="8789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54"/>
          <p:cNvSpPr txBox="1"/>
          <p:nvPr userDrawn="1"/>
        </p:nvSpPr>
        <p:spPr>
          <a:xfrm>
            <a:off x="6667588" y="184780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5" name="TextBox 54"/>
          <p:cNvSpPr txBox="1"/>
          <p:nvPr userDrawn="1"/>
        </p:nvSpPr>
        <p:spPr>
          <a:xfrm>
            <a:off x="6667588" y="2881232"/>
            <a:ext cx="396044" cy="3447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8" name="TextBox 54"/>
          <p:cNvSpPr txBox="1"/>
          <p:nvPr userDrawn="1"/>
        </p:nvSpPr>
        <p:spPr>
          <a:xfrm>
            <a:off x="7686414" y="2842813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52" name="TextBox 54"/>
          <p:cNvSpPr txBox="1"/>
          <p:nvPr userDrawn="1"/>
        </p:nvSpPr>
        <p:spPr>
          <a:xfrm>
            <a:off x="7686414" y="2909000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2" name="TextBox 54"/>
          <p:cNvSpPr txBox="1"/>
          <p:nvPr userDrawn="1"/>
        </p:nvSpPr>
        <p:spPr>
          <a:xfrm>
            <a:off x="7686414" y="5089641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3" name="Rectangle 62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64" name="Image 6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0" name="Groupe 59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1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7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2" name="Groupe 81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5" name="Rectangle 84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6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" name="ZoneTexte 87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9" name="Image 8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172" y="5526231"/>
            <a:ext cx="318039" cy="336260"/>
          </a:xfrm>
          <a:prstGeom prst="rect">
            <a:avLst/>
          </a:prstGeom>
        </p:spPr>
      </p:pic>
      <p:pic>
        <p:nvPicPr>
          <p:cNvPr id="92" name="Image 9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6622" y="1995943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6694" y="2021421"/>
            <a:ext cx="318039" cy="336260"/>
          </a:xfrm>
          <a:prstGeom prst="rect">
            <a:avLst/>
          </a:prstGeom>
        </p:spPr>
      </p:pic>
      <p:sp>
        <p:nvSpPr>
          <p:cNvPr id="57" name="Rectangle 56"/>
          <p:cNvSpPr/>
          <p:nvPr userDrawn="1"/>
        </p:nvSpPr>
        <p:spPr bwMode="auto">
          <a:xfrm>
            <a:off x="4777575" y="4437112"/>
            <a:ext cx="1620000" cy="55324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fus CLD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11 </a:t>
            </a:r>
          </a:p>
        </p:txBody>
      </p:sp>
      <p:cxnSp>
        <p:nvCxnSpPr>
          <p:cNvPr id="68" name="Connecteur droit 67"/>
          <p:cNvCxnSpPr>
            <a:endCxn id="57" idx="1"/>
          </p:cNvCxnSpPr>
          <p:nvPr userDrawn="1"/>
        </p:nvCxnSpPr>
        <p:spPr bwMode="auto">
          <a:xfrm>
            <a:off x="2828584" y="3549370"/>
            <a:ext cx="1948991" cy="1164366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9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028658" y="2111012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9" name="Rectangle 78"/>
          <p:cNvSpPr/>
          <p:nvPr userDrawn="1"/>
        </p:nvSpPr>
        <p:spPr bwMode="auto">
          <a:xfrm>
            <a:off x="7486978" y="4365104"/>
            <a:ext cx="793957" cy="65761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0" name="Rectangle 89"/>
          <p:cNvSpPr/>
          <p:nvPr userDrawn="1"/>
        </p:nvSpPr>
        <p:spPr bwMode="auto">
          <a:xfrm>
            <a:off x="8769424" y="2960948"/>
            <a:ext cx="793957" cy="212523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6716433" y="3284984"/>
            <a:ext cx="1517450" cy="47255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3" name="Picture 2" descr="D:\SkyDrive\Pro\Divers\Couteau suisse\PNG\Flèches &amp; signes\button_ok.png">
            <a:extLst>
              <a:ext uri="{FF2B5EF4-FFF2-40B4-BE49-F238E27FC236}">
                <a16:creationId xmlns:a16="http://schemas.microsoft.com/office/drawing/2014/main" id="{9B5433EF-D806-4C97-853A-F1A04D6758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717394" y="4566622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374532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CLD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794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ongés requalifiés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568783" y="3573096"/>
            <a:ext cx="208075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Requalification en Congé de longue durée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(</a:t>
            </a:r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LD)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625354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97658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347130" y="1340768"/>
            <a:ext cx="0" cy="390734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61479" y="1340768"/>
            <a:ext cx="0" cy="387946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/>
          <p:cNvSpPr/>
          <p:nvPr userDrawn="1"/>
        </p:nvSpPr>
        <p:spPr bwMode="auto">
          <a:xfrm>
            <a:off x="4764090" y="2925024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Requalification</a:t>
            </a:r>
            <a:r>
              <a:rPr lang="fr-FR" sz="1050" i="1" kern="0" baseline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 CMO en CLD</a:t>
            </a:r>
            <a:endParaRPr lang="fr-FR" sz="1050" i="1" kern="0" dirty="0">
              <a:solidFill>
                <a:srgbClr val="004272"/>
              </a:solidFill>
              <a:latin typeface="Arial (Corps)"/>
              <a:ea typeface="ＭＳ Ｐゴシック" pitchFamily="34" charset="-128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 INTABS0106</a:t>
            </a:r>
            <a:endParaRPr lang="fr-FR" sz="1050" i="1" kern="0" baseline="0" dirty="0">
              <a:solidFill>
                <a:srgbClr val="004272"/>
              </a:solidFill>
              <a:latin typeface="Arial (Corps)"/>
              <a:cs typeface="ＭＳ Ｐゴシック"/>
            </a:endParaRP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4763891" y="4185084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Requalification CLM en CLD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 INTABS0108</a:t>
            </a:r>
          </a:p>
        </p:txBody>
      </p:sp>
      <p:cxnSp>
        <p:nvCxnSpPr>
          <p:cNvPr id="23" name="Connecteur droit 22"/>
          <p:cNvCxnSpPr/>
          <p:nvPr userDrawn="1"/>
        </p:nvCxnSpPr>
        <p:spPr bwMode="auto">
          <a:xfrm>
            <a:off x="4320208" y="3503031"/>
            <a:ext cx="914400" cy="962521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Connecteur droit 24"/>
          <p:cNvCxnSpPr>
            <a:stCxn id="72" idx="3"/>
            <a:endCxn id="95" idx="1"/>
          </p:cNvCxnSpPr>
          <p:nvPr userDrawn="1"/>
        </p:nvCxnSpPr>
        <p:spPr bwMode="auto">
          <a:xfrm flipV="1">
            <a:off x="3649542" y="3285024"/>
            <a:ext cx="1114548" cy="648072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Connecteur droit 26"/>
          <p:cNvCxnSpPr>
            <a:endCxn id="96" idx="1"/>
          </p:cNvCxnSpPr>
          <p:nvPr userDrawn="1"/>
        </p:nvCxnSpPr>
        <p:spPr bwMode="auto">
          <a:xfrm>
            <a:off x="3661666" y="3933096"/>
            <a:ext cx="1102225" cy="611988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54"/>
          <p:cNvSpPr txBox="1"/>
          <p:nvPr userDrawn="1"/>
        </p:nvSpPr>
        <p:spPr>
          <a:xfrm>
            <a:off x="6667588" y="184780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5" name="TextBox 54"/>
          <p:cNvSpPr txBox="1"/>
          <p:nvPr userDrawn="1"/>
        </p:nvSpPr>
        <p:spPr>
          <a:xfrm>
            <a:off x="6667588" y="2881232"/>
            <a:ext cx="396044" cy="34479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108" name="TextBox 54"/>
          <p:cNvSpPr txBox="1"/>
          <p:nvPr userDrawn="1"/>
        </p:nvSpPr>
        <p:spPr>
          <a:xfrm>
            <a:off x="7686414" y="2842813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52" name="TextBox 54"/>
          <p:cNvSpPr txBox="1"/>
          <p:nvPr userDrawn="1"/>
        </p:nvSpPr>
        <p:spPr>
          <a:xfrm>
            <a:off x="7686414" y="2909000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2" name="TextBox 54"/>
          <p:cNvSpPr txBox="1"/>
          <p:nvPr userDrawn="1"/>
        </p:nvSpPr>
        <p:spPr>
          <a:xfrm>
            <a:off x="7686414" y="5089641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63" name="Rectangle 62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64" name="Image 6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0" name="Groupe 59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1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7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2" name="Groupe 81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5" name="Rectangle 84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6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" name="ZoneTexte 87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9" name="Image 8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55" name="Rectangle 54"/>
          <p:cNvSpPr/>
          <p:nvPr userDrawn="1"/>
        </p:nvSpPr>
        <p:spPr bwMode="auto">
          <a:xfrm>
            <a:off x="1568624" y="1808820"/>
            <a:ext cx="208075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Requalification en Congé de longue maladie 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(</a:t>
            </a:r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LM)</a:t>
            </a:r>
          </a:p>
        </p:txBody>
      </p:sp>
      <p:sp>
        <p:nvSpPr>
          <p:cNvPr id="56" name="Rectangle 55"/>
          <p:cNvSpPr/>
          <p:nvPr userDrawn="1"/>
        </p:nvSpPr>
        <p:spPr bwMode="auto">
          <a:xfrm>
            <a:off x="4772980" y="1808900"/>
            <a:ext cx="16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Requalification CMO en CLM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 INTABS0105</a:t>
            </a:r>
          </a:p>
        </p:txBody>
      </p:sp>
      <p:cxnSp>
        <p:nvCxnSpPr>
          <p:cNvPr id="57" name="Connecteur droit 56"/>
          <p:cNvCxnSpPr>
            <a:stCxn id="55" idx="3"/>
            <a:endCxn id="56" idx="1"/>
          </p:cNvCxnSpPr>
          <p:nvPr userDrawn="1"/>
        </p:nvCxnSpPr>
        <p:spPr bwMode="auto">
          <a:xfrm>
            <a:off x="3649383" y="2168820"/>
            <a:ext cx="1123597" cy="80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Rectangle 65"/>
          <p:cNvSpPr/>
          <p:nvPr userDrawn="1"/>
        </p:nvSpPr>
        <p:spPr bwMode="auto">
          <a:xfrm>
            <a:off x="7486978" y="1466336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7" name="Rectangle 66"/>
          <p:cNvSpPr/>
          <p:nvPr userDrawn="1"/>
        </p:nvSpPr>
        <p:spPr bwMode="auto">
          <a:xfrm>
            <a:off x="8695547" y="1466337"/>
            <a:ext cx="793957" cy="363211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695" y="4439887"/>
            <a:ext cx="318039" cy="336260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9924" y="3092644"/>
            <a:ext cx="318039" cy="336260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695" y="198572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6670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mater pater ad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49"/>
            <a:ext cx="9061450" cy="73804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ongés liés à la parentalité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446181" y="1520788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materni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07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6164355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612627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94245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790778" y="1466383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86978" y="1466336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60314" y="1466739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516308" y="1460932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78"/>
          <p:cNvSpPr/>
          <p:nvPr userDrawn="1"/>
        </p:nvSpPr>
        <p:spPr bwMode="auto">
          <a:xfrm>
            <a:off x="2446181" y="2517177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paternité et de l’accueil de l’enfant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24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27 (S)</a:t>
            </a:r>
          </a:p>
        </p:txBody>
      </p:sp>
      <p:sp>
        <p:nvSpPr>
          <p:cNvPr id="91" name="Rectangle 90"/>
          <p:cNvSpPr/>
          <p:nvPr userDrawn="1"/>
        </p:nvSpPr>
        <p:spPr bwMode="auto">
          <a:xfrm>
            <a:off x="2446181" y="3561126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adop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17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26 (S)</a:t>
            </a:r>
          </a:p>
        </p:txBody>
      </p:sp>
      <p:sp>
        <p:nvSpPr>
          <p:cNvPr id="45" name="Rectangle 44"/>
          <p:cNvSpPr/>
          <p:nvPr userDrawn="1"/>
        </p:nvSpPr>
        <p:spPr bwMode="auto">
          <a:xfrm rot="16200000">
            <a:off x="-1409734" y="3035134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cxnSp>
        <p:nvCxnSpPr>
          <p:cNvPr id="4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4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pic>
        <p:nvPicPr>
          <p:cNvPr id="44" name="Image 4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3" name="Image 52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5" name="Groupe 5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8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9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0" name="Rectangle 69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1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" name="ZoneTexte 80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83" name="Image 8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854" y="3752996"/>
            <a:ext cx="318039" cy="336260"/>
          </a:xfrm>
          <a:prstGeom prst="rect">
            <a:avLst/>
          </a:prstGeom>
        </p:spPr>
      </p:pic>
      <p:pic>
        <p:nvPicPr>
          <p:cNvPr id="84" name="Image 8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0187" y="2708776"/>
            <a:ext cx="318039" cy="336260"/>
          </a:xfrm>
          <a:prstGeom prst="rect">
            <a:avLst/>
          </a:prstGeom>
        </p:spPr>
      </p:pic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8082" y="1724588"/>
            <a:ext cx="318039" cy="336260"/>
          </a:xfrm>
          <a:prstGeom prst="rect">
            <a:avLst/>
          </a:prstGeom>
        </p:spPr>
      </p:pic>
      <p:sp>
        <p:nvSpPr>
          <p:cNvPr id="42" name="Rectangle 41"/>
          <p:cNvSpPr/>
          <p:nvPr userDrawn="1"/>
        </p:nvSpPr>
        <p:spPr bwMode="auto">
          <a:xfrm>
            <a:off x="2446181" y="4545204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naissance ou adop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09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39 (S)</a:t>
            </a:r>
          </a:p>
        </p:txBody>
      </p:sp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5940" y="4712920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33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solidarité famili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</a:t>
            </a:r>
            <a:r>
              <a:rPr lang="fr-FR" sz="1800" kern="0" baseline="0" dirty="0"/>
              <a:t> congés de solidarité familiale et du </a:t>
            </a:r>
          </a:p>
          <a:p>
            <a:pPr eaLnBrk="1" hangingPunct="1"/>
            <a:r>
              <a:rPr lang="fr-FR" sz="1800" kern="0" baseline="0" dirty="0"/>
              <a:t>proche aidant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248986" y="2348880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solidarité familiale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6181534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629806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311424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77493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517396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Connecteur droit 3"/>
          <p:cNvCxnSpPr>
            <a:stCxn id="72" idx="3"/>
            <a:endCxn id="82" idx="1"/>
          </p:cNvCxnSpPr>
          <p:nvPr userDrawn="1"/>
        </p:nvCxnSpPr>
        <p:spPr bwMode="auto">
          <a:xfrm flipV="1">
            <a:off x="2688986" y="2155193"/>
            <a:ext cx="571937" cy="55368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Rectangle 81"/>
          <p:cNvSpPr/>
          <p:nvPr userDrawn="1"/>
        </p:nvSpPr>
        <p:spPr bwMode="auto">
          <a:xfrm>
            <a:off x="3260923" y="1795193"/>
            <a:ext cx="30960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solidarité familiale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21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0" name="TextBox 54"/>
          <p:cNvSpPr txBox="1"/>
          <p:nvPr userDrawn="1"/>
        </p:nvSpPr>
        <p:spPr>
          <a:xfrm>
            <a:off x="6541574" y="3424419"/>
            <a:ext cx="396044" cy="2827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80" name="Rectangle 79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45" name="Image 44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9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8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3" name="Groupe 82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6" name="Rectangle 85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7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9" name="ZoneTexte 88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0" name="Image 8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auto">
          <a:xfrm>
            <a:off x="8699945" y="1628848"/>
            <a:ext cx="793957" cy="358353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46" name="Rectangle 45"/>
          <p:cNvSpPr/>
          <p:nvPr userDrawn="1"/>
        </p:nvSpPr>
        <p:spPr bwMode="auto">
          <a:xfrm>
            <a:off x="1244588" y="411307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proche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aidant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 bwMode="auto">
          <a:xfrm>
            <a:off x="3224808" y="3753036"/>
            <a:ext cx="30960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roch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aidant (T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107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55" name="Connecteur droit 54"/>
          <p:cNvCxnSpPr/>
          <p:nvPr userDrawn="1"/>
        </p:nvCxnSpPr>
        <p:spPr bwMode="auto">
          <a:xfrm>
            <a:off x="2667363" y="4485719"/>
            <a:ext cx="557445" cy="45548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Connecteur droit 57"/>
          <p:cNvCxnSpPr>
            <a:endCxn id="47" idx="1"/>
          </p:cNvCxnSpPr>
          <p:nvPr userDrawn="1"/>
        </p:nvCxnSpPr>
        <p:spPr bwMode="auto">
          <a:xfrm flipV="1">
            <a:off x="2667363" y="4113036"/>
            <a:ext cx="557445" cy="37268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ctangle 55"/>
          <p:cNvSpPr/>
          <p:nvPr userDrawn="1"/>
        </p:nvSpPr>
        <p:spPr bwMode="auto">
          <a:xfrm>
            <a:off x="7326865" y="1792759"/>
            <a:ext cx="1160806" cy="72000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23</a:t>
            </a: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3224808" y="4545204"/>
            <a:ext cx="30960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roch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aidant (S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136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7" name="Rectangle 66"/>
          <p:cNvSpPr/>
          <p:nvPr userDrawn="1"/>
        </p:nvSpPr>
        <p:spPr bwMode="auto">
          <a:xfrm>
            <a:off x="7329264" y="3717032"/>
            <a:ext cx="1160806" cy="72000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60</a:t>
            </a:r>
          </a:p>
        </p:txBody>
      </p:sp>
      <p:sp>
        <p:nvSpPr>
          <p:cNvPr id="68" name="Rectangle 67"/>
          <p:cNvSpPr/>
          <p:nvPr userDrawn="1"/>
        </p:nvSpPr>
        <p:spPr bwMode="auto">
          <a:xfrm>
            <a:off x="7329264" y="4545203"/>
            <a:ext cx="1160806" cy="72000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37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3254256" y="2672553"/>
            <a:ext cx="30960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solidarité familiale (S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24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4" name="Rectangle 53"/>
          <p:cNvSpPr/>
          <p:nvPr userDrawn="1"/>
        </p:nvSpPr>
        <p:spPr bwMode="auto">
          <a:xfrm>
            <a:off x="7319629" y="2658615"/>
            <a:ext cx="1160806" cy="72000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25</a:t>
            </a:r>
          </a:p>
        </p:txBody>
      </p:sp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8860" y="2081298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185" y="2061862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1820" y="3961594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8425" y="3961768"/>
            <a:ext cx="318039" cy="336260"/>
          </a:xfrm>
          <a:prstGeom prst="rect">
            <a:avLst/>
          </a:prstGeom>
        </p:spPr>
      </p:pic>
      <p:pic>
        <p:nvPicPr>
          <p:cNvPr id="91" name="Image 9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5188" y="4784928"/>
            <a:ext cx="318039" cy="336260"/>
          </a:xfrm>
          <a:prstGeom prst="rect">
            <a:avLst/>
          </a:prstGeom>
        </p:spPr>
      </p:pic>
      <p:pic>
        <p:nvPicPr>
          <p:cNvPr id="92" name="Image 9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312" y="4797152"/>
            <a:ext cx="318039" cy="336260"/>
          </a:xfrm>
          <a:prstGeom prst="rect">
            <a:avLst/>
          </a:prstGeom>
        </p:spPr>
      </p:pic>
      <p:pic>
        <p:nvPicPr>
          <p:cNvPr id="5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45188" y="293214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54981" y="2960948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5596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33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34" name="Title 1"/>
          <p:cNvSpPr txBox="1">
            <a:spLocks/>
          </p:cNvSpPr>
          <p:nvPr userDrawn="1"/>
        </p:nvSpPr>
        <p:spPr bwMode="gray">
          <a:xfrm>
            <a:off x="489776" y="25920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r>
              <a:rPr lang="fr-FR" sz="1800" kern="0" dirty="0"/>
              <a:t>Parcours d’un agent fonctionnaire</a:t>
            </a:r>
          </a:p>
        </p:txBody>
      </p:sp>
      <p:sp>
        <p:nvSpPr>
          <p:cNvPr id="36" name="Rectangle 35"/>
          <p:cNvSpPr/>
          <p:nvPr userDrawn="1"/>
        </p:nvSpPr>
        <p:spPr bwMode="auto">
          <a:xfrm>
            <a:off x="2490930" y="1153820"/>
            <a:ext cx="7143054" cy="403066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37" name="Rectangle 36"/>
          <p:cNvSpPr/>
          <p:nvPr userDrawn="1"/>
        </p:nvSpPr>
        <p:spPr bwMode="auto">
          <a:xfrm>
            <a:off x="2500861" y="5251266"/>
            <a:ext cx="7132661" cy="12945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38" name="Rectangle 37"/>
          <p:cNvSpPr/>
          <p:nvPr userDrawn="1"/>
        </p:nvSpPr>
        <p:spPr bwMode="auto">
          <a:xfrm>
            <a:off x="32076" y="5275130"/>
            <a:ext cx="2241679" cy="12945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39" name="Curved Connector 23"/>
          <p:cNvCxnSpPr>
            <a:stCxn id="106" idx="0"/>
          </p:cNvCxnSpPr>
          <p:nvPr userDrawn="1"/>
        </p:nvCxnSpPr>
        <p:spPr bwMode="auto">
          <a:xfrm>
            <a:off x="2144387" y="1377219"/>
            <a:ext cx="318051" cy="256145"/>
          </a:xfrm>
          <a:prstGeom prst="curvedConnector3">
            <a:avLst>
              <a:gd name="adj1" fmla="val 50000"/>
            </a:avLst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0" name="Curved Connector 289"/>
          <p:cNvCxnSpPr>
            <a:endCxn id="47" idx="0"/>
          </p:cNvCxnSpPr>
          <p:nvPr userDrawn="1"/>
        </p:nvCxnSpPr>
        <p:spPr bwMode="auto">
          <a:xfrm rot="10800000">
            <a:off x="2108465" y="4448452"/>
            <a:ext cx="353981" cy="289905"/>
          </a:xfrm>
          <a:prstGeom prst="curvedConnector3">
            <a:avLst>
              <a:gd name="adj1" fmla="val 50000"/>
            </a:avLst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1" name="Rectangle 6"/>
          <p:cNvSpPr>
            <a:spLocks noChangeArrowheads="1"/>
          </p:cNvSpPr>
          <p:nvPr userDrawn="1"/>
        </p:nvSpPr>
        <p:spPr bwMode="auto">
          <a:xfrm>
            <a:off x="4948120" y="1232800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ea typeface="ＭＳ Ｐゴシック" pitchFamily="34" charset="-128"/>
                <a:cs typeface="ＭＳ Ｐゴシック"/>
              </a:rPr>
              <a:t>Progression dans la carrière</a:t>
            </a:r>
          </a:p>
        </p:txBody>
      </p:sp>
      <p:sp>
        <p:nvSpPr>
          <p:cNvPr id="42" name="Rectangle 41">
            <a:hlinkClick r:id="rId2" action="ppaction://hlinksldjump"/>
          </p:cNvPr>
          <p:cNvSpPr/>
          <p:nvPr userDrawn="1"/>
        </p:nvSpPr>
        <p:spPr bwMode="auto">
          <a:xfrm>
            <a:off x="4948120" y="180884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" action="ppaction://hlinksldjump"/>
              </a:rPr>
              <a:t>AVANCEMENT D’ECHEL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3" name="Rectangle 42">
            <a:hlinkClick r:id="rId4" action="ppaction://hlinksldjump"/>
          </p:cNvPr>
          <p:cNvSpPr/>
          <p:nvPr userDrawn="1"/>
        </p:nvSpPr>
        <p:spPr bwMode="auto">
          <a:xfrm>
            <a:off x="4948120" y="1970868"/>
            <a:ext cx="19800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5" action="ppaction://hlinksldjump"/>
              </a:rPr>
              <a:t>AVANCEMENT DE GRADE ET PROMOTION DE CORPS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5" name="Rectangle 44">
            <a:hlinkClick r:id="" action="ppaction://noaction"/>
          </p:cNvPr>
          <p:cNvSpPr/>
          <p:nvPr userDrawn="1"/>
        </p:nvSpPr>
        <p:spPr bwMode="auto">
          <a:xfrm>
            <a:off x="4948120" y="2250316"/>
            <a:ext cx="1980000" cy="2065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ANCIENNETE</a:t>
            </a:r>
          </a:p>
        </p:txBody>
      </p:sp>
      <p:sp>
        <p:nvSpPr>
          <p:cNvPr id="46" name="Rectangle 45">
            <a:hlinkClick r:id="" action="ppaction://noaction"/>
          </p:cNvPr>
          <p:cNvSpPr/>
          <p:nvPr userDrawn="1"/>
        </p:nvSpPr>
        <p:spPr bwMode="auto">
          <a:xfrm>
            <a:off x="4948120" y="2456912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VALUATION</a:t>
            </a:r>
          </a:p>
        </p:txBody>
      </p:sp>
      <p:sp>
        <p:nvSpPr>
          <p:cNvPr id="47" name="Rectangle 6"/>
          <p:cNvSpPr>
            <a:spLocks noChangeArrowheads="1"/>
          </p:cNvSpPr>
          <p:nvPr userDrawn="1"/>
        </p:nvSpPr>
        <p:spPr bwMode="auto">
          <a:xfrm>
            <a:off x="128464" y="4250451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cs typeface="ＭＳ Ｐゴシック"/>
              </a:rPr>
              <a:t>Cessation / prolongation</a:t>
            </a:r>
            <a:r>
              <a:rPr lang="fr-FR" sz="1100" b="1" kern="0" baseline="0" dirty="0">
                <a:solidFill>
                  <a:schemeClr val="bg1"/>
                </a:solidFill>
                <a:latin typeface="+mn-lt"/>
                <a:cs typeface="ＭＳ Ｐゴシック"/>
              </a:rPr>
              <a:t> </a:t>
            </a:r>
            <a:r>
              <a:rPr lang="fr-FR" sz="1100" b="1" kern="0" dirty="0">
                <a:solidFill>
                  <a:schemeClr val="bg1"/>
                </a:solidFill>
                <a:latin typeface="+mn-lt"/>
                <a:cs typeface="ＭＳ Ｐゴシック"/>
              </a:rPr>
              <a:t>d’activité</a:t>
            </a:r>
            <a:endParaRPr lang="fr-FR" sz="1100" b="1" kern="0" dirty="0">
              <a:solidFill>
                <a:schemeClr val="bg1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48" name="Rectangle 47">
            <a:hlinkClick r:id="rId6" action="ppaction://hlinksldjump"/>
          </p:cNvPr>
          <p:cNvSpPr/>
          <p:nvPr userDrawn="1"/>
        </p:nvSpPr>
        <p:spPr bwMode="auto">
          <a:xfrm>
            <a:off x="137625" y="463122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7" action="ppaction://hlinksldjump"/>
              </a:rPr>
              <a:t>CESSATION HORS RETRA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9" name="Rectangle 48">
            <a:hlinkClick r:id="rId7" action="ppaction://hlinksldjump"/>
          </p:cNvPr>
          <p:cNvSpPr/>
          <p:nvPr userDrawn="1"/>
        </p:nvSpPr>
        <p:spPr bwMode="auto">
          <a:xfrm>
            <a:off x="137625" y="481122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8" action="ppaction://hlinksldjump"/>
              </a:rPr>
              <a:t>DEPART A LA RETRA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0" name="Rectangle 6"/>
          <p:cNvSpPr>
            <a:spLocks noChangeArrowheads="1"/>
          </p:cNvSpPr>
          <p:nvPr userDrawn="1"/>
        </p:nvSpPr>
        <p:spPr bwMode="auto">
          <a:xfrm>
            <a:off x="7533269" y="5354461"/>
            <a:ext cx="1982273" cy="32525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Sanctions disciplinaire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1" name="Rectangle 6"/>
          <p:cNvSpPr>
            <a:spLocks noChangeArrowheads="1"/>
          </p:cNvSpPr>
          <p:nvPr userDrawn="1"/>
        </p:nvSpPr>
        <p:spPr bwMode="auto">
          <a:xfrm>
            <a:off x="236476" y="5409220"/>
            <a:ext cx="1785937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Macro-processu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236476" y="5769933"/>
            <a:ext cx="1785937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174625" indent="-174625" algn="ctr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VENEMENT</a:t>
            </a:r>
          </a:p>
        </p:txBody>
      </p:sp>
      <p:sp>
        <p:nvSpPr>
          <p:cNvPr id="53" name="TextBox 621"/>
          <p:cNvSpPr txBox="1"/>
          <p:nvPr userDrawn="1"/>
        </p:nvSpPr>
        <p:spPr>
          <a:xfrm>
            <a:off x="690544" y="5159442"/>
            <a:ext cx="84207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FFC000"/>
                </a:solidFill>
                <a:latin typeface="+mn-lt"/>
              </a:rPr>
              <a:t>LEGENDE</a:t>
            </a:r>
          </a:p>
        </p:txBody>
      </p:sp>
      <p:sp>
        <p:nvSpPr>
          <p:cNvPr id="55" name="Rectangle 54"/>
          <p:cNvSpPr/>
          <p:nvPr userDrawn="1"/>
        </p:nvSpPr>
        <p:spPr bwMode="auto">
          <a:xfrm>
            <a:off x="956556" y="6061406"/>
            <a:ext cx="485983" cy="3479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00" kern="0" dirty="0">
                <a:solidFill>
                  <a:srgbClr val="004272"/>
                </a:solidFill>
                <a:latin typeface="+mn-lt"/>
                <a:cs typeface="ＭＳ Ｐゴシック"/>
              </a:rPr>
              <a:t>A étudier</a:t>
            </a:r>
          </a:p>
        </p:txBody>
      </p:sp>
      <p:sp>
        <p:nvSpPr>
          <p:cNvPr id="56" name="Rectangle 55"/>
          <p:cNvSpPr/>
          <p:nvPr userDrawn="1"/>
        </p:nvSpPr>
        <p:spPr bwMode="auto">
          <a:xfrm>
            <a:off x="236476" y="6061406"/>
            <a:ext cx="648000" cy="34794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00" kern="0" dirty="0">
                <a:solidFill>
                  <a:srgbClr val="004272"/>
                </a:solidFill>
                <a:latin typeface="+mn-lt"/>
                <a:cs typeface="ＭＳ Ｐゴシック"/>
              </a:rPr>
              <a:t>Existence d’un acte</a:t>
            </a:r>
          </a:p>
        </p:txBody>
      </p:sp>
      <p:sp>
        <p:nvSpPr>
          <p:cNvPr id="57" name="Rectangle 6"/>
          <p:cNvSpPr>
            <a:spLocks noChangeArrowheads="1"/>
          </p:cNvSpPr>
          <p:nvPr userDrawn="1"/>
        </p:nvSpPr>
        <p:spPr bwMode="auto">
          <a:xfrm>
            <a:off x="7509504" y="132351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Formation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8" name="Rectangle 57">
            <a:hlinkClick r:id="" action="ppaction://noaction"/>
          </p:cNvPr>
          <p:cNvSpPr/>
          <p:nvPr userDrawn="1"/>
        </p:nvSpPr>
        <p:spPr bwMode="auto">
          <a:xfrm>
            <a:off x="7509503" y="1717006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DU CPF</a:t>
            </a:r>
          </a:p>
        </p:txBody>
      </p:sp>
      <p:sp>
        <p:nvSpPr>
          <p:cNvPr id="59" name="Rectangle 58">
            <a:hlinkClick r:id="" action="ppaction://noaction"/>
          </p:cNvPr>
          <p:cNvSpPr/>
          <p:nvPr userDrawn="1"/>
        </p:nvSpPr>
        <p:spPr bwMode="auto">
          <a:xfrm>
            <a:off x="7509503" y="1879482"/>
            <a:ext cx="1980000" cy="27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Formation pour concours et examen</a:t>
            </a:r>
          </a:p>
        </p:txBody>
      </p:sp>
      <p:sp>
        <p:nvSpPr>
          <p:cNvPr id="60" name="Rectangle 59">
            <a:hlinkClick r:id="" action="ppaction://noaction"/>
          </p:cNvPr>
          <p:cNvSpPr/>
          <p:nvPr userDrawn="1"/>
        </p:nvSpPr>
        <p:spPr bwMode="auto">
          <a:xfrm>
            <a:off x="7509503" y="2131958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FORMATION CONTINUE</a:t>
            </a:r>
          </a:p>
        </p:txBody>
      </p:sp>
      <p:sp>
        <p:nvSpPr>
          <p:cNvPr id="61" name="Rectangle 60">
            <a:hlinkClick r:id="" action="ppaction://noaction"/>
          </p:cNvPr>
          <p:cNvSpPr/>
          <p:nvPr userDrawn="1"/>
        </p:nvSpPr>
        <p:spPr bwMode="auto">
          <a:xfrm>
            <a:off x="7509503" y="2294434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FORMATION STATUTAIRE</a:t>
            </a:r>
          </a:p>
        </p:txBody>
      </p:sp>
      <p:sp>
        <p:nvSpPr>
          <p:cNvPr id="62" name="Rectangle 61">
            <a:hlinkClick r:id="" action="ppaction://noaction"/>
          </p:cNvPr>
          <p:cNvSpPr/>
          <p:nvPr userDrawn="1"/>
        </p:nvSpPr>
        <p:spPr bwMode="auto">
          <a:xfrm>
            <a:off x="7509503" y="2456912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NTRETIENS, BILANS</a:t>
            </a:r>
          </a:p>
        </p:txBody>
      </p:sp>
      <p:sp>
        <p:nvSpPr>
          <p:cNvPr id="63" name="Rectangle 62">
            <a:hlinkClick r:id="" action="ppaction://noaction"/>
          </p:cNvPr>
          <p:cNvSpPr/>
          <p:nvPr userDrawn="1"/>
        </p:nvSpPr>
        <p:spPr bwMode="auto">
          <a:xfrm>
            <a:off x="7571226" y="6327332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DONNEES PERSO.</a:t>
            </a:r>
          </a:p>
        </p:txBody>
      </p:sp>
      <p:sp>
        <p:nvSpPr>
          <p:cNvPr id="64" name="Rectangle 6"/>
          <p:cNvSpPr>
            <a:spLocks noChangeArrowheads="1"/>
          </p:cNvSpPr>
          <p:nvPr userDrawn="1"/>
        </p:nvSpPr>
        <p:spPr bwMode="auto">
          <a:xfrm>
            <a:off x="4948120" y="2708920"/>
            <a:ext cx="4576033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ea typeface="ＭＳ Ｐゴシック" pitchFamily="34" charset="-128"/>
                <a:cs typeface="ＭＳ Ｐゴシック"/>
              </a:rPr>
              <a:t>Congés &amp; Absences</a:t>
            </a:r>
          </a:p>
        </p:txBody>
      </p:sp>
      <p:sp>
        <p:nvSpPr>
          <p:cNvPr id="65" name="Rectangle 64">
            <a:hlinkClick r:id="" action="ppaction://noaction"/>
          </p:cNvPr>
          <p:cNvSpPr/>
          <p:nvPr userDrawn="1"/>
        </p:nvSpPr>
        <p:spPr bwMode="auto">
          <a:xfrm>
            <a:off x="4948120" y="3140968"/>
            <a:ext cx="2182582" cy="16561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GES ANNUELS</a:t>
            </a:r>
          </a:p>
        </p:txBody>
      </p:sp>
      <p:sp>
        <p:nvSpPr>
          <p:cNvPr id="67" name="Rectangle 66">
            <a:hlinkClick r:id="" action="ppaction://noaction"/>
          </p:cNvPr>
          <p:cNvSpPr/>
          <p:nvPr userDrawn="1"/>
        </p:nvSpPr>
        <p:spPr bwMode="auto">
          <a:xfrm>
            <a:off x="4958361" y="3880794"/>
            <a:ext cx="2182582" cy="15474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ABSENCE DE SERVICE FAIT</a:t>
            </a:r>
          </a:p>
        </p:txBody>
      </p:sp>
      <p:sp>
        <p:nvSpPr>
          <p:cNvPr id="68" name="Rectangle 67">
            <a:hlinkClick r:id="" action="ppaction://noaction"/>
          </p:cNvPr>
          <p:cNvSpPr/>
          <p:nvPr userDrawn="1"/>
        </p:nvSpPr>
        <p:spPr bwMode="auto">
          <a:xfrm>
            <a:off x="4948120" y="4044748"/>
            <a:ext cx="2182582" cy="15145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DECHARGE DE SERVICE</a:t>
            </a:r>
          </a:p>
        </p:txBody>
      </p:sp>
      <p:sp>
        <p:nvSpPr>
          <p:cNvPr id="69" name="Rectangle 68">
            <a:hlinkClick r:id="" action="ppaction://noaction"/>
          </p:cNvPr>
          <p:cNvSpPr/>
          <p:nvPr userDrawn="1"/>
        </p:nvSpPr>
        <p:spPr bwMode="auto">
          <a:xfrm>
            <a:off x="4954304" y="3479145"/>
            <a:ext cx="2182582" cy="2278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GES ANNUELS ETRANGER</a:t>
            </a:r>
          </a:p>
        </p:txBody>
      </p:sp>
      <p:sp>
        <p:nvSpPr>
          <p:cNvPr id="70" name="Rectangle 69">
            <a:hlinkClick r:id="" action="ppaction://noaction"/>
          </p:cNvPr>
          <p:cNvSpPr/>
          <p:nvPr userDrawn="1"/>
        </p:nvSpPr>
        <p:spPr bwMode="auto">
          <a:xfrm>
            <a:off x="4948120" y="3686928"/>
            <a:ext cx="2182582" cy="18524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GE BILAN DE COMPETENCES</a:t>
            </a:r>
          </a:p>
        </p:txBody>
      </p:sp>
      <p:sp>
        <p:nvSpPr>
          <p:cNvPr id="73" name="Rectangle 72">
            <a:hlinkClick r:id="" action="ppaction://noaction"/>
          </p:cNvPr>
          <p:cNvSpPr/>
          <p:nvPr userDrawn="1"/>
        </p:nvSpPr>
        <p:spPr bwMode="auto">
          <a:xfrm>
            <a:off x="4948120" y="3326337"/>
            <a:ext cx="2182582" cy="16659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CET</a:t>
            </a:r>
          </a:p>
        </p:txBody>
      </p:sp>
      <p:sp>
        <p:nvSpPr>
          <p:cNvPr id="74" name="Rectangle 73">
            <a:hlinkClick r:id="rId3" action="ppaction://hlinksldjump"/>
          </p:cNvPr>
          <p:cNvSpPr/>
          <p:nvPr userDrawn="1"/>
        </p:nvSpPr>
        <p:spPr bwMode="auto">
          <a:xfrm>
            <a:off x="7544153" y="3110486"/>
            <a:ext cx="1980000" cy="268367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9" action="ppaction://hlinksldjump"/>
              </a:rPr>
              <a:t>CONGE BONIFIE ET ADMINISTRATIF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5" name="Rectangle 74">
            <a:hlinkClick r:id="rId10" action="ppaction://hlinksldjump"/>
          </p:cNvPr>
          <p:cNvSpPr/>
          <p:nvPr userDrawn="1"/>
        </p:nvSpPr>
        <p:spPr bwMode="auto">
          <a:xfrm>
            <a:off x="7544153" y="3371462"/>
            <a:ext cx="1980000" cy="17635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1" action="ppaction://hlinksldjump"/>
              </a:rPr>
              <a:t>CONGE FORMATION PRO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7" name="Rectangle 76">
            <a:hlinkClick r:id="rId5" action="ppaction://hlinksldjump"/>
          </p:cNvPr>
          <p:cNvSpPr/>
          <p:nvPr userDrawn="1"/>
        </p:nvSpPr>
        <p:spPr bwMode="auto">
          <a:xfrm>
            <a:off x="7545508" y="3704582"/>
            <a:ext cx="1980000" cy="202271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2" action="ppaction://hlinksldjump"/>
              </a:rPr>
              <a:t>CONGE MALADIE ORDINAIR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3" name="TextBox 239"/>
          <p:cNvSpPr txBox="1"/>
          <p:nvPr userDrawn="1"/>
        </p:nvSpPr>
        <p:spPr>
          <a:xfrm>
            <a:off x="4484948" y="5143072"/>
            <a:ext cx="2971947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CESSUS HORS PARCOURS CLASSIQUE</a:t>
            </a:r>
          </a:p>
        </p:txBody>
      </p:sp>
      <p:sp>
        <p:nvSpPr>
          <p:cNvPr id="84" name="Rectangle 6"/>
          <p:cNvSpPr>
            <a:spLocks noChangeArrowheads="1"/>
          </p:cNvSpPr>
          <p:nvPr userDrawn="1"/>
        </p:nvSpPr>
        <p:spPr bwMode="auto">
          <a:xfrm>
            <a:off x="2831191" y="5403702"/>
            <a:ext cx="1980000" cy="552019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/>
              </a:rPr>
              <a:t>Activités, sujétions, éléments annexes de rémunération</a:t>
            </a:r>
          </a:p>
        </p:txBody>
      </p:sp>
      <p:sp>
        <p:nvSpPr>
          <p:cNvPr id="85" name="Rectangle 84">
            <a:hlinkClick r:id="rId12" action="ppaction://hlinksldjump"/>
          </p:cNvPr>
          <p:cNvSpPr/>
          <p:nvPr userDrawn="1"/>
        </p:nvSpPr>
        <p:spPr bwMode="auto">
          <a:xfrm>
            <a:off x="2831191" y="5954227"/>
            <a:ext cx="19800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3" action="ppaction://hlinksldjump"/>
              </a:rPr>
              <a:t>REMUNERA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6" name="Rectangle 85"/>
          <p:cNvSpPr/>
          <p:nvPr userDrawn="1"/>
        </p:nvSpPr>
        <p:spPr bwMode="auto">
          <a:xfrm>
            <a:off x="2831191" y="6213822"/>
            <a:ext cx="19800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4" action="ppaction://hlinksldjump"/>
              </a:rPr>
              <a:t>ELEMENTS ANNEXES DE REMUNERA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7" name="Rectangle 6"/>
          <p:cNvSpPr>
            <a:spLocks noChangeArrowheads="1"/>
          </p:cNvSpPr>
          <p:nvPr userDrawn="1"/>
        </p:nvSpPr>
        <p:spPr bwMode="auto">
          <a:xfrm>
            <a:off x="2614474" y="3897447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cs typeface="ＭＳ Ｐゴシック"/>
              </a:rPr>
              <a:t>Modalités de service</a:t>
            </a:r>
            <a:endParaRPr lang="fr-FR" sz="1100" b="1" kern="0" dirty="0">
              <a:solidFill>
                <a:schemeClr val="bg1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88" name="Rectangle 87">
            <a:hlinkClick r:id="rId15" action="ppaction://hlinksldjump"/>
          </p:cNvPr>
          <p:cNvSpPr/>
          <p:nvPr userDrawn="1"/>
        </p:nvSpPr>
        <p:spPr bwMode="auto">
          <a:xfrm>
            <a:off x="2628110" y="4291584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6" action="ppaction://hlinksldjump"/>
              </a:rPr>
              <a:t>TEMPS PARTIE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0" name="Rectangle 6"/>
          <p:cNvSpPr>
            <a:spLocks noChangeArrowheads="1"/>
          </p:cNvSpPr>
          <p:nvPr userDrawn="1"/>
        </p:nvSpPr>
        <p:spPr bwMode="auto">
          <a:xfrm>
            <a:off x="5150702" y="597976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Modification du décret portant statut d’un corp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91" name="Rectangle 90">
            <a:hlinkClick r:id="" action="ppaction://noaction"/>
          </p:cNvPr>
          <p:cNvSpPr/>
          <p:nvPr userDrawn="1"/>
        </p:nvSpPr>
        <p:spPr bwMode="auto">
          <a:xfrm>
            <a:off x="5150702" y="6359087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5" action="ppaction://hlinksldjump"/>
              </a:rPr>
              <a:t>RECLASSEMENT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2" name="Rectangle 6"/>
          <p:cNvSpPr>
            <a:spLocks noChangeArrowheads="1"/>
          </p:cNvSpPr>
          <p:nvPr userDrawn="1"/>
        </p:nvSpPr>
        <p:spPr bwMode="auto">
          <a:xfrm>
            <a:off x="2629539" y="132351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Mobilité &amp; Position statutaire</a:t>
            </a:r>
            <a:endParaRPr lang="fr-FR" sz="105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93" name="Rectangle 92">
            <a:hlinkClick r:id="rId17" action="ppaction://hlinksldjump"/>
          </p:cNvPr>
          <p:cNvSpPr/>
          <p:nvPr userDrawn="1"/>
        </p:nvSpPr>
        <p:spPr bwMode="auto">
          <a:xfrm>
            <a:off x="2629539" y="1714853"/>
            <a:ext cx="19800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7" action="ppaction://hlinksldjump"/>
              </a:rPr>
              <a:t>CHANGEMENT D’AFFECTATION &amp; MUTA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4" name="Rectangle 93">
            <a:hlinkClick r:id="rId18" action="ppaction://hlinksldjump"/>
          </p:cNvPr>
          <p:cNvSpPr/>
          <p:nvPr userDrawn="1"/>
        </p:nvSpPr>
        <p:spPr bwMode="auto">
          <a:xfrm>
            <a:off x="2629539" y="1972671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9" action="ppaction://hlinksldjump"/>
              </a:rPr>
              <a:t>POSITION NORMALE ACTIV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5" name="Rectangle 94">
            <a:hlinkClick r:id="rId12" action="ppaction://hlinksldjump"/>
          </p:cNvPr>
          <p:cNvSpPr/>
          <p:nvPr userDrawn="1"/>
        </p:nvSpPr>
        <p:spPr bwMode="auto">
          <a:xfrm>
            <a:off x="2629539" y="2140489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0" action="ppaction://hlinksldjump"/>
              </a:rPr>
              <a:t>DETACHEMENT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7" name="Rectangle 96">
            <a:hlinkClick r:id="rId20" action="ppaction://hlinksldjump"/>
          </p:cNvPr>
          <p:cNvSpPr/>
          <p:nvPr userDrawn="1"/>
        </p:nvSpPr>
        <p:spPr bwMode="auto">
          <a:xfrm>
            <a:off x="2629539" y="2489309"/>
            <a:ext cx="1980000" cy="219611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8" action="ppaction://hlinksldjump"/>
              </a:rPr>
              <a:t>MISE A DISPOSI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8" name="Rectangle 97">
            <a:hlinkClick r:id="rId21" action="ppaction://hlinksldjump"/>
          </p:cNvPr>
          <p:cNvSpPr/>
          <p:nvPr userDrawn="1"/>
        </p:nvSpPr>
        <p:spPr bwMode="auto">
          <a:xfrm>
            <a:off x="2633927" y="270894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z="900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  <a:hlinkClick r:id="rId22" action="ppaction://hlinksldjump"/>
              </a:rPr>
              <a:t>CONGE PARENTA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0" name="Rectangle 99">
            <a:hlinkClick r:id="" action="ppaction://noaction"/>
          </p:cNvPr>
          <p:cNvSpPr/>
          <p:nvPr userDrawn="1"/>
        </p:nvSpPr>
        <p:spPr bwMode="auto">
          <a:xfrm>
            <a:off x="2629539" y="288896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2" action="ppaction://hlinksldjump"/>
              </a:rPr>
              <a:t>CONGES SANS TRAITEMENT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1" name="Rectangle 100">
            <a:hlinkClick r:id="" action="ppaction://noaction"/>
          </p:cNvPr>
          <p:cNvSpPr/>
          <p:nvPr userDrawn="1"/>
        </p:nvSpPr>
        <p:spPr bwMode="auto">
          <a:xfrm>
            <a:off x="2629539" y="3068980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SERVICE NATIONAL</a:t>
            </a:r>
          </a:p>
        </p:txBody>
      </p:sp>
      <p:sp>
        <p:nvSpPr>
          <p:cNvPr id="103" name="Rectangle 102">
            <a:hlinkClick r:id="" action="ppaction://noaction"/>
          </p:cNvPr>
          <p:cNvSpPr/>
          <p:nvPr userDrawn="1"/>
        </p:nvSpPr>
        <p:spPr bwMode="auto">
          <a:xfrm>
            <a:off x="2637210" y="3249000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SITUATION ADMIN. A L’ETRANGER</a:t>
            </a:r>
          </a:p>
        </p:txBody>
      </p:sp>
      <p:sp>
        <p:nvSpPr>
          <p:cNvPr id="105" name="Rectangle 104">
            <a:hlinkClick r:id="" action="ppaction://noaction"/>
          </p:cNvPr>
          <p:cNvSpPr/>
          <p:nvPr userDrawn="1"/>
        </p:nvSpPr>
        <p:spPr bwMode="auto">
          <a:xfrm>
            <a:off x="7534405" y="5671479"/>
            <a:ext cx="1980000" cy="22704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3" action="ppaction://hlinksldjump"/>
              </a:rPr>
              <a:t>EXCLUSION TEMPORAIR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6" name="Rectangle 6"/>
          <p:cNvSpPr>
            <a:spLocks noChangeArrowheads="1"/>
          </p:cNvSpPr>
          <p:nvPr userDrawn="1"/>
        </p:nvSpPr>
        <p:spPr bwMode="auto">
          <a:xfrm>
            <a:off x="164387" y="1179219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/>
              </a:rPr>
              <a:t>Entrée initiale dans la FPE</a:t>
            </a:r>
          </a:p>
        </p:txBody>
      </p:sp>
      <p:sp>
        <p:nvSpPr>
          <p:cNvPr id="107" name="Rectangle 106"/>
          <p:cNvSpPr/>
          <p:nvPr userDrawn="1"/>
        </p:nvSpPr>
        <p:spPr bwMode="auto">
          <a:xfrm>
            <a:off x="164387" y="1543200"/>
            <a:ext cx="1980000" cy="218734"/>
          </a:xfrm>
          <a:prstGeom prst="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kern="0" dirty="0">
                <a:solidFill>
                  <a:schemeClr val="bg1"/>
                </a:solidFill>
                <a:latin typeface="+mn-lt"/>
                <a:cs typeface="ＭＳ Ｐゴシック"/>
              </a:rPr>
              <a:t>RECRUTEMENT</a:t>
            </a:r>
          </a:p>
        </p:txBody>
      </p:sp>
      <p:sp>
        <p:nvSpPr>
          <p:cNvPr id="108" name="Rectangle 107"/>
          <p:cNvSpPr/>
          <p:nvPr userDrawn="1"/>
        </p:nvSpPr>
        <p:spPr bwMode="auto">
          <a:xfrm>
            <a:off x="164387" y="1753434"/>
            <a:ext cx="1980000" cy="27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RECRUTEMENT &amp; AFFECTATION SUITE A UN CONCOURS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164387" y="2014934"/>
            <a:ext cx="1980000" cy="27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RECRUTEMENT ET AFFECT. SANS CONCOURS</a:t>
            </a:r>
          </a:p>
        </p:txBody>
      </p:sp>
      <p:sp>
        <p:nvSpPr>
          <p:cNvPr id="110" name="Rectangle 109"/>
          <p:cNvSpPr/>
          <p:nvPr userDrawn="1"/>
        </p:nvSpPr>
        <p:spPr bwMode="auto">
          <a:xfrm>
            <a:off x="164387" y="2276434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RECRUTEMENTS PACTE</a:t>
            </a:r>
          </a:p>
        </p:txBody>
      </p:sp>
      <p:sp>
        <p:nvSpPr>
          <p:cNvPr id="111" name="Rectangle 110"/>
          <p:cNvSpPr/>
          <p:nvPr userDrawn="1"/>
        </p:nvSpPr>
        <p:spPr bwMode="auto">
          <a:xfrm>
            <a:off x="164387" y="2447934"/>
            <a:ext cx="1980000" cy="235199"/>
          </a:xfrm>
          <a:prstGeom prst="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kern="0" dirty="0">
                <a:solidFill>
                  <a:schemeClr val="bg1"/>
                </a:solidFill>
                <a:latin typeface="+mn-lt"/>
                <a:cs typeface="ＭＳ Ｐゴシック"/>
              </a:rPr>
              <a:t>NOMINATION</a:t>
            </a:r>
          </a:p>
        </p:txBody>
      </p:sp>
      <p:sp>
        <p:nvSpPr>
          <p:cNvPr id="113" name="Rectangle 112"/>
          <p:cNvSpPr/>
          <p:nvPr userDrawn="1"/>
        </p:nvSpPr>
        <p:spPr bwMode="auto">
          <a:xfrm>
            <a:off x="164387" y="3390286"/>
            <a:ext cx="1980000" cy="218734"/>
          </a:xfrm>
          <a:prstGeom prst="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kern="0" dirty="0">
                <a:solidFill>
                  <a:schemeClr val="bg1"/>
                </a:solidFill>
                <a:latin typeface="+mn-lt"/>
                <a:cs typeface="ＭＳ Ｐゴシック"/>
              </a:rPr>
              <a:t>TITULARISATION</a:t>
            </a:r>
          </a:p>
        </p:txBody>
      </p:sp>
      <p:sp>
        <p:nvSpPr>
          <p:cNvPr id="114" name="Rectangle 113">
            <a:hlinkClick r:id="rId11" action="ppaction://hlinksldjump"/>
          </p:cNvPr>
          <p:cNvSpPr/>
          <p:nvPr userDrawn="1"/>
        </p:nvSpPr>
        <p:spPr bwMode="auto">
          <a:xfrm>
            <a:off x="162915" y="360904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4" action="ppaction://hlinksldjump"/>
              </a:rPr>
              <a:t>TITULARISA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5" name="Rectangle 114"/>
          <p:cNvSpPr/>
          <p:nvPr userDrawn="1"/>
        </p:nvSpPr>
        <p:spPr bwMode="auto">
          <a:xfrm>
            <a:off x="161538" y="3786330"/>
            <a:ext cx="1980000" cy="218734"/>
          </a:xfrm>
          <a:prstGeom prst="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kern="0" dirty="0">
                <a:solidFill>
                  <a:schemeClr val="bg1"/>
                </a:solidFill>
                <a:latin typeface="+mn-lt"/>
                <a:cs typeface="ＭＳ Ｐゴシック"/>
              </a:rPr>
              <a:t>CLASSEMENT</a:t>
            </a:r>
          </a:p>
        </p:txBody>
      </p:sp>
      <p:sp>
        <p:nvSpPr>
          <p:cNvPr id="116" name="Rectangle 115">
            <a:hlinkClick r:id="" action="ppaction://noaction"/>
          </p:cNvPr>
          <p:cNvSpPr/>
          <p:nvPr userDrawn="1"/>
        </p:nvSpPr>
        <p:spPr bwMode="auto">
          <a:xfrm>
            <a:off x="164688" y="4005084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z="900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  <a:hlinkClick r:id="rId15" action="ppaction://hlinksldjump"/>
              </a:rPr>
              <a:t>CLASSEMENT</a:t>
            </a:r>
            <a:endParaRPr lang="fr-FR" sz="900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17" name="Rectangle 6"/>
          <p:cNvSpPr>
            <a:spLocks noChangeArrowheads="1"/>
          </p:cNvSpPr>
          <p:nvPr userDrawn="1"/>
        </p:nvSpPr>
        <p:spPr bwMode="auto">
          <a:xfrm>
            <a:off x="5150702" y="5383126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Distinctions honorifique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18" name="Rectangle 117"/>
          <p:cNvSpPr/>
          <p:nvPr userDrawn="1"/>
        </p:nvSpPr>
        <p:spPr bwMode="auto">
          <a:xfrm>
            <a:off x="5150702" y="5750731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LEGION D’HONNEUR, etc.</a:t>
            </a:r>
          </a:p>
        </p:txBody>
      </p:sp>
      <p:sp>
        <p:nvSpPr>
          <p:cNvPr id="119" name="Rectangle 118"/>
          <p:cNvSpPr/>
          <p:nvPr userDrawn="1"/>
        </p:nvSpPr>
        <p:spPr bwMode="auto">
          <a:xfrm>
            <a:off x="1554854" y="6069392"/>
            <a:ext cx="485983" cy="347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00" kern="0" dirty="0">
                <a:solidFill>
                  <a:srgbClr val="004272"/>
                </a:solidFill>
                <a:latin typeface="+mn-lt"/>
                <a:cs typeface="ＭＳ Ｐゴシック"/>
              </a:rPr>
              <a:t>Pas d’acte</a:t>
            </a:r>
          </a:p>
        </p:txBody>
      </p:sp>
      <p:sp>
        <p:nvSpPr>
          <p:cNvPr id="120" name="Espace réservé du numéro de diapositive 2"/>
          <p:cNvSpPr txBox="1">
            <a:spLocks/>
          </p:cNvSpPr>
          <p:nvPr userDrawn="1"/>
        </p:nvSpPr>
        <p:spPr bwMode="gray">
          <a:xfrm>
            <a:off x="9317448" y="6554343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22" name="Rectangle 121">
            <a:hlinkClick r:id="" action="ppaction://noaction"/>
          </p:cNvPr>
          <p:cNvSpPr/>
          <p:nvPr userDrawn="1"/>
        </p:nvSpPr>
        <p:spPr bwMode="auto">
          <a:xfrm>
            <a:off x="7535294" y="5909227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5" action="ppaction://hlinksldjump"/>
              </a:rPr>
              <a:t>SUSPENS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1" name="Rectangle 120">
            <a:hlinkClick r:id="rId11" action="ppaction://hlinksldjump"/>
          </p:cNvPr>
          <p:cNvSpPr/>
          <p:nvPr userDrawn="1"/>
        </p:nvSpPr>
        <p:spPr bwMode="auto">
          <a:xfrm>
            <a:off x="7542130" y="4513195"/>
            <a:ext cx="1980000" cy="574839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4" action="ppaction://hlinksldjump"/>
              </a:rPr>
              <a:t>CONGE PROCHE AIDANT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4" action="ppaction://hlinksldjump"/>
              </a:rPr>
              <a:t> / PRESENCE PARENTALE / </a:t>
            </a: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4" action="ppaction://hlinksldjump"/>
              </a:rPr>
              <a:t>SOLIDARITE FAMILIAL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0" name="Rectangle 79">
            <a:hlinkClick r:id="rId26" action="ppaction://hlinksldjump"/>
          </p:cNvPr>
          <p:cNvSpPr/>
          <p:nvPr userDrawn="1"/>
        </p:nvSpPr>
        <p:spPr bwMode="auto">
          <a:xfrm>
            <a:off x="7555722" y="3912522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7" action="ppaction://hlinksldjump"/>
              </a:rPr>
              <a:t>CONGE LONGUE MALADIE (CLM)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4" name="Rectangle 103">
            <a:hlinkClick r:id="rId28" action="ppaction://hlinksldjump"/>
          </p:cNvPr>
          <p:cNvSpPr/>
          <p:nvPr userDrawn="1"/>
        </p:nvSpPr>
        <p:spPr bwMode="auto">
          <a:xfrm>
            <a:off x="4952918" y="4196199"/>
            <a:ext cx="2188025" cy="252028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8" action="ppaction://hlinksldjump"/>
              </a:rPr>
              <a:t>CONGES REPRESENTANTS DU PERSONNE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2" name="ZoneTexte 1"/>
          <p:cNvSpPr txBox="1"/>
          <p:nvPr userDrawn="1"/>
        </p:nvSpPr>
        <p:spPr>
          <a:xfrm>
            <a:off x="9452145" y="3916603"/>
            <a:ext cx="720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1000" b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123" name="Rectangle 122">
            <a:hlinkClick r:id="rId29" action="ppaction://hlinksldjump"/>
          </p:cNvPr>
          <p:cNvSpPr/>
          <p:nvPr userDrawn="1"/>
        </p:nvSpPr>
        <p:spPr bwMode="auto">
          <a:xfrm>
            <a:off x="2628110" y="4478719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z="900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  <a:hlinkClick r:id="rId16" action="ppaction://hlinksldjump"/>
              </a:rPr>
              <a:t>TELETRAVAIL</a:t>
            </a:r>
            <a:endParaRPr lang="fr-FR" kern="0" dirty="0">
              <a:solidFill>
                <a:srgbClr val="00B050"/>
              </a:solidFill>
              <a:latin typeface="+mn-lt"/>
              <a:cs typeface="ＭＳ Ｐゴシック"/>
            </a:endParaRPr>
          </a:p>
        </p:txBody>
      </p:sp>
      <p:sp>
        <p:nvSpPr>
          <p:cNvPr id="124" name="Rectangle 123">
            <a:hlinkClick r:id="rId30" action="ppaction://hlinksldjump"/>
          </p:cNvPr>
          <p:cNvSpPr/>
          <p:nvPr userDrawn="1"/>
        </p:nvSpPr>
        <p:spPr bwMode="auto">
          <a:xfrm>
            <a:off x="7544496" y="4303270"/>
            <a:ext cx="1980000" cy="20628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0" action="ppaction://hlinksldjump"/>
              </a:rPr>
              <a:t>CITIS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9" name="Rectangle 88">
            <a:hlinkClick r:id="rId26" action="ppaction://hlinksldjump"/>
          </p:cNvPr>
          <p:cNvSpPr/>
          <p:nvPr userDrawn="1"/>
        </p:nvSpPr>
        <p:spPr bwMode="auto">
          <a:xfrm>
            <a:off x="7544153" y="412327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1" action="ppaction://hlinksldjump"/>
              </a:rPr>
              <a:t>CONGE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31" action="ppaction://hlinksldjump"/>
              </a:rPr>
              <a:t> LONGUE DUREE</a:t>
            </a: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1" action="ppaction://hlinksldjump"/>
              </a:rPr>
              <a:t> (CLD)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9" name="Rectangle 98">
            <a:hlinkClick r:id="rId11" action="ppaction://hlinksldjump"/>
          </p:cNvPr>
          <p:cNvSpPr/>
          <p:nvPr userDrawn="1"/>
        </p:nvSpPr>
        <p:spPr bwMode="auto">
          <a:xfrm>
            <a:off x="164387" y="2991974"/>
            <a:ext cx="1980000" cy="406709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2" action="ppaction://hlinksldjump"/>
              </a:rPr>
              <a:t>PRISE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32" action="ppaction://hlinksldjump"/>
              </a:rPr>
              <a:t> EN CHARGE EN DETACHEMENT OU PNA / INTEGRATION</a:t>
            </a: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2" action="ppaction://hlinksldjump"/>
              </a:rPr>
              <a:t> 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5" name="Rectangle 124">
            <a:hlinkClick r:id="rId11" action="ppaction://hlinksldjump"/>
          </p:cNvPr>
          <p:cNvSpPr/>
          <p:nvPr userDrawn="1"/>
        </p:nvSpPr>
        <p:spPr bwMode="auto">
          <a:xfrm>
            <a:off x="164387" y="2678705"/>
            <a:ext cx="1980000" cy="298172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33" action="ppaction://hlinksldjump"/>
              </a:rPr>
              <a:t>NOMINATION AN QUALITE DE STAGIAIRE</a:t>
            </a: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3" action="ppaction://hlinksldjump"/>
              </a:rPr>
              <a:t> 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2" name="Rectangle 111">
            <a:hlinkClick r:id="rId7" action="ppaction://hlinksldjump"/>
          </p:cNvPr>
          <p:cNvSpPr/>
          <p:nvPr userDrawn="1"/>
        </p:nvSpPr>
        <p:spPr bwMode="auto">
          <a:xfrm>
            <a:off x="137625" y="4996095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4" action="ppaction://hlinksldjump"/>
              </a:rPr>
              <a:t>PROLONGATION D’ACTIV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6" name="Rectangle 125">
            <a:hlinkClick r:id="rId19" action="ppaction://hlinksldjump"/>
          </p:cNvPr>
          <p:cNvSpPr/>
          <p:nvPr userDrawn="1"/>
        </p:nvSpPr>
        <p:spPr bwMode="auto">
          <a:xfrm>
            <a:off x="4958361" y="4448452"/>
            <a:ext cx="2182582" cy="200506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35" action="ppaction://hlinksldjump"/>
              </a:rPr>
              <a:t>CONGES LIES A LA PARENTAL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2" name="Rectangle 101">
            <a:hlinkClick r:id="rId10" action="ppaction://hlinksldjump"/>
          </p:cNvPr>
          <p:cNvSpPr/>
          <p:nvPr userDrawn="1"/>
        </p:nvSpPr>
        <p:spPr bwMode="auto">
          <a:xfrm>
            <a:off x="7535294" y="3541823"/>
            <a:ext cx="1980000" cy="17635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1" action="ppaction://hlinksldjump"/>
              </a:rPr>
              <a:t>CONGE TRANSITION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11" action="ppaction://hlinksldjump"/>
              </a:rPr>
              <a:t> </a:t>
            </a: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1" action="ppaction://hlinksldjump"/>
              </a:rPr>
              <a:t>PRO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7" name="Rectangle 126">
            <a:hlinkClick r:id="rId20" action="ppaction://hlinksldjump"/>
          </p:cNvPr>
          <p:cNvSpPr/>
          <p:nvPr userDrawn="1"/>
        </p:nvSpPr>
        <p:spPr bwMode="auto">
          <a:xfrm>
            <a:off x="2629539" y="2320772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8" action="ppaction://hlinksldjump"/>
              </a:rPr>
              <a:t>DISPONIBIL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6" name="Rectangle 95">
            <a:hlinkClick r:id="rId19" action="ppaction://hlinksldjump"/>
          </p:cNvPr>
          <p:cNvSpPr/>
          <p:nvPr userDrawn="1"/>
        </p:nvSpPr>
        <p:spPr bwMode="auto">
          <a:xfrm>
            <a:off x="4968726" y="4649965"/>
            <a:ext cx="2182582" cy="281459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5" action="ppaction://hlinksldjump"/>
              </a:rPr>
              <a:t>REPRISE ANTICIPEE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35" action="ppaction://hlinksldjump"/>
              </a:rPr>
              <a:t> SUITE A CONGE/ABSENC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8" name="Rectangle 127">
            <a:hlinkClick r:id="rId2" action="ppaction://hlinksldjump"/>
          </p:cNvPr>
          <p:cNvSpPr/>
          <p:nvPr userDrawn="1"/>
        </p:nvSpPr>
        <p:spPr bwMode="auto">
          <a:xfrm>
            <a:off x="4953000" y="162882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" action="ppaction://hlinksldjump"/>
              </a:rPr>
              <a:t>PROLONGATION STAG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0527990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présence parent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/>
          <p:cNvSpPr/>
          <p:nvPr userDrawn="1"/>
        </p:nvSpPr>
        <p:spPr bwMode="auto">
          <a:xfrm>
            <a:off x="7312978" y="1883583"/>
            <a:ext cx="1160806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21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</a:t>
            </a:r>
            <a:r>
              <a:rPr lang="fr-FR" sz="1800" kern="0" baseline="0" dirty="0"/>
              <a:t> congé de présence parentale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2580" y="3406935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présence parentale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341373" y="1880828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rése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arentale (T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112 (initial)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612580" y="2240828"/>
            <a:ext cx="728793" cy="152610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604031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614692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96310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62379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518373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78"/>
          <p:cNvSpPr/>
          <p:nvPr userDrawn="1"/>
        </p:nvSpPr>
        <p:spPr bwMode="auto">
          <a:xfrm>
            <a:off x="3369144" y="4545204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présence parentale fractionné</a:t>
            </a:r>
          </a:p>
        </p:txBody>
      </p:sp>
      <p:cxnSp>
        <p:nvCxnSpPr>
          <p:cNvPr id="6" name="Connecteur droit 5"/>
          <p:cNvCxnSpPr>
            <a:stCxn id="72" idx="3"/>
            <a:endCxn id="79" idx="1"/>
          </p:cNvCxnSpPr>
          <p:nvPr userDrawn="1"/>
        </p:nvCxnSpPr>
        <p:spPr bwMode="auto">
          <a:xfrm>
            <a:off x="2612580" y="3766935"/>
            <a:ext cx="756564" cy="113826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Rectangle 41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48" name="Image 47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4" name="Groupe 43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5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6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47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7" name="Groupe 66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8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9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0" name="Rectangle 69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1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" name="ZoneTexte 7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sp>
        <p:nvSpPr>
          <p:cNvPr id="53" name="Rectangle 52"/>
          <p:cNvSpPr/>
          <p:nvPr userDrawn="1"/>
        </p:nvSpPr>
        <p:spPr bwMode="auto">
          <a:xfrm>
            <a:off x="8715742" y="1771948"/>
            <a:ext cx="873621" cy="34932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3332820" y="2816932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rése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arentale (S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113 (initial)</a:t>
            </a: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3368824" y="3717032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présence parentale fractionné</a:t>
            </a:r>
          </a:p>
        </p:txBody>
      </p:sp>
      <p:sp>
        <p:nvSpPr>
          <p:cNvPr id="60" name="Rectangle 59"/>
          <p:cNvSpPr/>
          <p:nvPr userDrawn="1"/>
        </p:nvSpPr>
        <p:spPr bwMode="auto">
          <a:xfrm>
            <a:off x="7329264" y="2823841"/>
            <a:ext cx="1160806" cy="67716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22</a:t>
            </a:r>
          </a:p>
        </p:txBody>
      </p:sp>
      <p:cxnSp>
        <p:nvCxnSpPr>
          <p:cNvPr id="55" name="Straight Connector 34"/>
          <p:cNvCxnSpPr>
            <a:stCxn id="72" idx="3"/>
            <a:endCxn id="52" idx="1"/>
          </p:cNvCxnSpPr>
          <p:nvPr userDrawn="1"/>
        </p:nvCxnSpPr>
        <p:spPr bwMode="auto">
          <a:xfrm flipV="1">
            <a:off x="2612580" y="3176932"/>
            <a:ext cx="720240" cy="590003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34"/>
          <p:cNvCxnSpPr>
            <a:stCxn id="72" idx="3"/>
            <a:endCxn id="57" idx="1"/>
          </p:cNvCxnSpPr>
          <p:nvPr userDrawn="1"/>
        </p:nvCxnSpPr>
        <p:spPr bwMode="auto">
          <a:xfrm>
            <a:off x="2612580" y="3766935"/>
            <a:ext cx="756244" cy="31009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Rectangle 57"/>
          <p:cNvSpPr/>
          <p:nvPr userDrawn="1"/>
        </p:nvSpPr>
        <p:spPr bwMode="auto">
          <a:xfrm>
            <a:off x="6509503" y="3717031"/>
            <a:ext cx="1811502" cy="156034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8580" y="3059109"/>
            <a:ext cx="318039" cy="336260"/>
          </a:xfrm>
          <a:prstGeom prst="rect">
            <a:avLst/>
          </a:prstGeom>
        </p:spPr>
      </p:pic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994" y="2107223"/>
            <a:ext cx="318039" cy="336260"/>
          </a:xfrm>
          <a:prstGeom prst="rect">
            <a:avLst/>
          </a:prstGeom>
        </p:spPr>
      </p:pic>
      <p:pic>
        <p:nvPicPr>
          <p:cNvPr id="86" name="Image 8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0647" y="3086365"/>
            <a:ext cx="318039" cy="336260"/>
          </a:xfrm>
          <a:prstGeom prst="rect">
            <a:avLst/>
          </a:prstGeom>
        </p:spPr>
      </p:pic>
      <p:pic>
        <p:nvPicPr>
          <p:cNvPr id="87" name="Image 8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1357" y="212923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261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Gestion du congé bonifié et administrati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bonifié et</a:t>
            </a:r>
            <a:r>
              <a:rPr lang="fr-FR" sz="1800" kern="0" baseline="0" dirty="0"/>
              <a:t> administratif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6" name="Rectangle 45"/>
          <p:cNvSpPr/>
          <p:nvPr userDrawn="1"/>
        </p:nvSpPr>
        <p:spPr bwMode="auto">
          <a:xfrm>
            <a:off x="2715068" y="2272428"/>
            <a:ext cx="26642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bonifié (T) (S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01</a:t>
            </a:r>
          </a:p>
        </p:txBody>
      </p:sp>
      <p:sp>
        <p:nvSpPr>
          <p:cNvPr id="54" name="TextBox 29"/>
          <p:cNvSpPr txBox="1"/>
          <p:nvPr userDrawn="1"/>
        </p:nvSpPr>
        <p:spPr>
          <a:xfrm>
            <a:off x="6109526" y="116074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55" name="TextBox 65"/>
          <p:cNvSpPr txBox="1"/>
          <p:nvPr userDrawn="1"/>
        </p:nvSpPr>
        <p:spPr>
          <a:xfrm>
            <a:off x="8521794" y="1160748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68" name="TextBox 69"/>
          <p:cNvSpPr txBox="1"/>
          <p:nvPr userDrawn="1"/>
        </p:nvSpPr>
        <p:spPr>
          <a:xfrm>
            <a:off x="7203412" y="1237693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69" name="Rectangle 68"/>
          <p:cNvSpPr/>
          <p:nvPr userDrawn="1"/>
        </p:nvSpPr>
        <p:spPr bwMode="auto">
          <a:xfrm>
            <a:off x="8699945" y="1722440"/>
            <a:ext cx="793957" cy="314536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0" name="Rectangle 69"/>
          <p:cNvSpPr/>
          <p:nvPr userDrawn="1"/>
        </p:nvSpPr>
        <p:spPr bwMode="auto">
          <a:xfrm>
            <a:off x="7396145" y="1722394"/>
            <a:ext cx="793957" cy="314542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81" name="Straight Connector 66"/>
          <p:cNvCxnSpPr/>
          <p:nvPr userDrawn="1"/>
        </p:nvCxnSpPr>
        <p:spPr bwMode="auto">
          <a:xfrm>
            <a:off x="7169481" y="1722797"/>
            <a:ext cx="0" cy="314492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68"/>
          <p:cNvCxnSpPr/>
          <p:nvPr userDrawn="1"/>
        </p:nvCxnSpPr>
        <p:spPr bwMode="auto">
          <a:xfrm>
            <a:off x="8425475" y="1716990"/>
            <a:ext cx="16602" cy="315217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Rectangle 84"/>
          <p:cNvSpPr/>
          <p:nvPr userDrawn="1"/>
        </p:nvSpPr>
        <p:spPr bwMode="auto">
          <a:xfrm>
            <a:off x="2715068" y="3829154"/>
            <a:ext cx="26642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administratif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29</a:t>
            </a:r>
          </a:p>
        </p:txBody>
      </p:sp>
      <p:sp>
        <p:nvSpPr>
          <p:cNvPr id="89" name="Rectangle 88"/>
          <p:cNvSpPr/>
          <p:nvPr userDrawn="1"/>
        </p:nvSpPr>
        <p:spPr bwMode="auto">
          <a:xfrm rot="16200000">
            <a:off x="-1054939" y="2928312"/>
            <a:ext cx="315881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42" name="Image 41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4" name="Groupe 43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52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3" name="Groupe 52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Rectangle 7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ZoneTexte 7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3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90985" y="4041068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Image 3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2067" y="244466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3018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forpro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 userDrawn="1"/>
        </p:nvSpPr>
        <p:spPr bwMode="auto">
          <a:xfrm>
            <a:off x="7368937" y="2322744"/>
            <a:ext cx="1160806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12</a:t>
            </a: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ongés de</a:t>
            </a:r>
            <a:r>
              <a:rPr lang="fr-FR" sz="1800" kern="0" baseline="0" dirty="0"/>
              <a:t> formation professionnelle (1/2)</a:t>
            </a:r>
            <a:endParaRPr lang="fr-FR" sz="1800" kern="0" dirty="0"/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43542" y="299695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formation professionnelle (CFP)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766585" y="2996952"/>
            <a:ext cx="162320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professionnelle (CFP) rémunéré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483542" y="3356952"/>
            <a:ext cx="283043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6325549" y="1016732"/>
            <a:ext cx="10593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665810" y="1016732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347428" y="109367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313497" y="1430735"/>
            <a:ext cx="29845" cy="378164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569491" y="1424928"/>
            <a:ext cx="0" cy="384027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78"/>
          <p:cNvSpPr/>
          <p:nvPr userDrawn="1"/>
        </p:nvSpPr>
        <p:spPr bwMode="auto">
          <a:xfrm>
            <a:off x="4585128" y="3537091"/>
            <a:ext cx="1806482" cy="88269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professionnelle (CFP) fractionné rémunéré</a:t>
            </a:r>
          </a:p>
        </p:txBody>
      </p:sp>
      <p:sp>
        <p:nvSpPr>
          <p:cNvPr id="84" name="Rectangle 83"/>
          <p:cNvSpPr/>
          <p:nvPr userDrawn="1"/>
        </p:nvSpPr>
        <p:spPr bwMode="auto">
          <a:xfrm>
            <a:off x="4585128" y="2321407"/>
            <a:ext cx="1806483" cy="85135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professionnelle (CFP) rémunér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10</a:t>
            </a:r>
          </a:p>
        </p:txBody>
      </p:sp>
      <p:cxnSp>
        <p:nvCxnSpPr>
          <p:cNvPr id="3" name="Connecteur droit 2"/>
          <p:cNvCxnSpPr>
            <a:stCxn id="74" idx="3"/>
            <a:endCxn id="84" idx="1"/>
          </p:cNvCxnSpPr>
          <p:nvPr userDrawn="1"/>
        </p:nvCxnSpPr>
        <p:spPr bwMode="auto">
          <a:xfrm flipV="1">
            <a:off x="4389791" y="2747085"/>
            <a:ext cx="195337" cy="60986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Connecteur droit 5"/>
          <p:cNvCxnSpPr>
            <a:stCxn id="74" idx="3"/>
            <a:endCxn id="79" idx="1"/>
          </p:cNvCxnSpPr>
          <p:nvPr userDrawn="1"/>
        </p:nvCxnSpPr>
        <p:spPr bwMode="auto">
          <a:xfrm>
            <a:off x="4389791" y="3356952"/>
            <a:ext cx="195337" cy="62148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489033" y="3355060"/>
            <a:ext cx="405777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54" name="Image 5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pic>
        <p:nvPicPr>
          <p:cNvPr id="80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146382" y="3906120"/>
            <a:ext cx="201612" cy="132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9" name="Groupe 58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3" name="Image 6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1" name="Groupe 80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7" name="Rectangle 9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0" name="ZoneTexte 9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01" name="Image 10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104" name="Image 10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6715" y="2595871"/>
            <a:ext cx="318039" cy="336260"/>
          </a:xfrm>
          <a:prstGeom prst="rect">
            <a:avLst/>
          </a:prstGeom>
        </p:spPr>
      </p:pic>
      <p:pic>
        <p:nvPicPr>
          <p:cNvPr id="105" name="Image 10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321" y="2595871"/>
            <a:ext cx="318039" cy="336260"/>
          </a:xfrm>
          <a:prstGeom prst="rect">
            <a:avLst/>
          </a:prstGeom>
        </p:spPr>
      </p:pic>
      <p:pic>
        <p:nvPicPr>
          <p:cNvPr id="51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134900" y="2697585"/>
            <a:ext cx="201612" cy="132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Rectangle 45"/>
          <p:cNvSpPr/>
          <p:nvPr userDrawn="1"/>
        </p:nvSpPr>
        <p:spPr bwMode="auto">
          <a:xfrm>
            <a:off x="6431358" y="3499473"/>
            <a:ext cx="2098385" cy="92031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5914228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congé forpro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ongés de</a:t>
            </a:r>
            <a:r>
              <a:rPr lang="fr-FR" sz="1800" kern="0" baseline="0" dirty="0"/>
              <a:t> formation professionnelle (2/2)</a:t>
            </a:r>
            <a:endParaRPr lang="fr-FR" sz="1800" kern="0" dirty="0"/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6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43542" y="292494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formation professionnelle (CFP)</a:t>
            </a: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2794132" y="2924944"/>
            <a:ext cx="162320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formation professionnelle (CFP) non rémunéré</a:t>
            </a:r>
          </a:p>
        </p:txBody>
      </p:sp>
      <p:cxnSp>
        <p:nvCxnSpPr>
          <p:cNvPr id="103" name="Straight Connector 34"/>
          <p:cNvCxnSpPr>
            <a:stCxn id="72" idx="3"/>
            <a:endCxn id="102" idx="1"/>
          </p:cNvCxnSpPr>
          <p:nvPr userDrawn="1"/>
        </p:nvCxnSpPr>
        <p:spPr bwMode="auto">
          <a:xfrm>
            <a:off x="2483542" y="3284944"/>
            <a:ext cx="310590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6325549" y="1016732"/>
            <a:ext cx="10593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665810" y="1016732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347428" y="109367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313497" y="1430735"/>
            <a:ext cx="1" cy="381844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569491" y="1424928"/>
            <a:ext cx="0" cy="384027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2" name="Rectangle 91"/>
          <p:cNvSpPr/>
          <p:nvPr userDrawn="1"/>
        </p:nvSpPr>
        <p:spPr bwMode="auto">
          <a:xfrm>
            <a:off x="4635767" y="3429080"/>
            <a:ext cx="180648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formation professionnelle (CFP) fractionné non rémunéré</a:t>
            </a:r>
          </a:p>
        </p:txBody>
      </p:sp>
      <p:sp>
        <p:nvSpPr>
          <p:cNvPr id="93" name="Rectangle 92"/>
          <p:cNvSpPr/>
          <p:nvPr userDrawn="1"/>
        </p:nvSpPr>
        <p:spPr bwMode="auto">
          <a:xfrm>
            <a:off x="4628213" y="2388065"/>
            <a:ext cx="181403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formation professionnelle (CFP) non rémunér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25</a:t>
            </a:r>
          </a:p>
        </p:txBody>
      </p:sp>
      <p:cxnSp>
        <p:nvCxnSpPr>
          <p:cNvPr id="8" name="Connecteur droit 7"/>
          <p:cNvCxnSpPr>
            <a:stCxn id="102" idx="3"/>
            <a:endCxn id="93" idx="1"/>
          </p:cNvCxnSpPr>
          <p:nvPr userDrawn="1"/>
        </p:nvCxnSpPr>
        <p:spPr bwMode="auto">
          <a:xfrm flipV="1">
            <a:off x="4417338" y="2748065"/>
            <a:ext cx="210875" cy="53687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Connecteur droit 12"/>
          <p:cNvCxnSpPr>
            <a:stCxn id="102" idx="3"/>
            <a:endCxn id="92" idx="1"/>
          </p:cNvCxnSpPr>
          <p:nvPr userDrawn="1"/>
        </p:nvCxnSpPr>
        <p:spPr bwMode="auto">
          <a:xfrm>
            <a:off x="4417338" y="3284944"/>
            <a:ext cx="218429" cy="50413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Rectangle 52"/>
          <p:cNvSpPr/>
          <p:nvPr userDrawn="1"/>
        </p:nvSpPr>
        <p:spPr bwMode="auto">
          <a:xfrm>
            <a:off x="8853774" y="2388065"/>
            <a:ext cx="654557" cy="176101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5" name="Rectangle 54"/>
          <p:cNvSpPr/>
          <p:nvPr userDrawn="1"/>
        </p:nvSpPr>
        <p:spPr bwMode="auto">
          <a:xfrm rot="16200000">
            <a:off x="-1489033" y="3355060"/>
            <a:ext cx="405777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54" name="Image 53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9" name="Groupe 58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3" name="Image 62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65484"/>
            <a:ext cx="362413" cy="362413"/>
          </a:xfrm>
          <a:prstGeom prst="rect">
            <a:avLst/>
          </a:prstGeom>
        </p:spPr>
      </p:pic>
      <p:sp>
        <p:nvSpPr>
          <p:cNvPr id="6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1" name="Groupe 80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7" name="Rectangle 9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0" name="ZoneTexte 9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01" name="Image 10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9197" y="2548104"/>
            <a:ext cx="318039" cy="336260"/>
          </a:xfrm>
          <a:prstGeom prst="rect">
            <a:avLst/>
          </a:prstGeom>
        </p:spPr>
      </p:pic>
      <p:pic>
        <p:nvPicPr>
          <p:cNvPr id="47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833320" y="2636912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48"/>
          <p:cNvSpPr/>
          <p:nvPr userDrawn="1"/>
        </p:nvSpPr>
        <p:spPr bwMode="auto">
          <a:xfrm>
            <a:off x="6541014" y="3455425"/>
            <a:ext cx="1988729" cy="65765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44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094318" y="3158638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301627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formation synd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s</a:t>
            </a:r>
            <a:r>
              <a:rPr lang="fr-FR" sz="1800" kern="0" baseline="0" dirty="0"/>
              <a:t> </a:t>
            </a:r>
            <a:r>
              <a:rPr lang="fr-FR" sz="1800" kern="0" dirty="0"/>
              <a:t>congés des représentants du</a:t>
            </a:r>
            <a:r>
              <a:rPr lang="fr-FR" sz="1800" kern="0" baseline="0" dirty="0"/>
              <a:t> personnel</a:t>
            </a:r>
            <a:endParaRPr lang="fr-FR" sz="1800" kern="0" dirty="0"/>
          </a:p>
          <a:p>
            <a:pPr eaLnBrk="1" hangingPunct="1"/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2580" y="3216907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s représentants du personnel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612580" y="2732996"/>
            <a:ext cx="648232" cy="84391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260812" y="2372996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syndical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46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79024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3400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5018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731551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27751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1087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57081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260812" y="3993765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hygièn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et sécurité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033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13" name="Connecteur droit 12"/>
          <p:cNvCxnSpPr>
            <a:stCxn id="72" idx="3"/>
            <a:endCxn id="78" idx="1"/>
          </p:cNvCxnSpPr>
          <p:nvPr userDrawn="1"/>
        </p:nvCxnSpPr>
        <p:spPr bwMode="auto">
          <a:xfrm>
            <a:off x="2612580" y="3576907"/>
            <a:ext cx="648232" cy="776858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275442" y="3084099"/>
            <a:ext cx="36305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39" name="Image 3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2" name="Groupe 41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5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46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7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4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3" name="Rectangle 6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" name="ZoneTexte 6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165" y="2567365"/>
            <a:ext cx="318039" cy="333758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165" y="4185635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0742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gé restructu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u congé de</a:t>
            </a:r>
            <a:r>
              <a:rPr lang="fr-FR" sz="1800" kern="0" baseline="0" dirty="0"/>
              <a:t> transition professionnelle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73977" y="3034366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transition professionnelle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47418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21794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03412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396145" y="2192664"/>
            <a:ext cx="2201371" cy="236461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169481" y="1466739"/>
            <a:ext cx="33931" cy="387366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25475" y="1460932"/>
            <a:ext cx="0" cy="386999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569115" y="2192664"/>
            <a:ext cx="237830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transiti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rofessionnelle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09</a:t>
            </a: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 flipV="1">
            <a:off x="2691007" y="2552664"/>
            <a:ext cx="878108" cy="84170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Rectangle 88"/>
          <p:cNvSpPr/>
          <p:nvPr userDrawn="1"/>
        </p:nvSpPr>
        <p:spPr bwMode="auto">
          <a:xfrm>
            <a:off x="3569114" y="3837278"/>
            <a:ext cx="237830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</a:t>
            </a:r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transition</a:t>
            </a:r>
            <a:r>
              <a:rPr lang="fr-FR" sz="1050" i="1" kern="0" baseline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 professionnelle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fractionné</a:t>
            </a:r>
          </a:p>
        </p:txBody>
      </p:sp>
      <p:cxnSp>
        <p:nvCxnSpPr>
          <p:cNvPr id="6" name="Connecteur droit 5"/>
          <p:cNvCxnSpPr>
            <a:stCxn id="72" idx="3"/>
            <a:endCxn id="89" idx="1"/>
          </p:cNvCxnSpPr>
          <p:nvPr userDrawn="1"/>
        </p:nvCxnSpPr>
        <p:spPr bwMode="auto">
          <a:xfrm>
            <a:off x="2691007" y="3394366"/>
            <a:ext cx="878107" cy="80291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Rectangle 46"/>
          <p:cNvSpPr/>
          <p:nvPr userDrawn="1"/>
        </p:nvSpPr>
        <p:spPr bwMode="auto">
          <a:xfrm rot="16200000">
            <a:off x="-1373760" y="3219775"/>
            <a:ext cx="382723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42" name="Image 41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5" name="Groupe 44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2" name="Groupe 51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5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7" name="Rectangle 6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" name="ZoneTexte 6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1" name="Image 7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sp>
        <p:nvSpPr>
          <p:cNvPr id="54" name="Rectangle 53"/>
          <p:cNvSpPr/>
          <p:nvPr userDrawn="1"/>
        </p:nvSpPr>
        <p:spPr bwMode="auto">
          <a:xfrm>
            <a:off x="6299795" y="3868452"/>
            <a:ext cx="835755" cy="65765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208" y="238453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1607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suspension de fon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a suspension de</a:t>
            </a:r>
            <a:r>
              <a:rPr lang="fr-FR" sz="1800" kern="0" baseline="0" dirty="0"/>
              <a:t> fonctions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09981" y="3196831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Suspension de fonctions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735949" y="1637102"/>
            <a:ext cx="793957" cy="364027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2149" y="1637101"/>
            <a:ext cx="793957" cy="364027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 flipH="1">
            <a:off x="8427548" y="1623397"/>
            <a:ext cx="33931" cy="365397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605120" y="1952916"/>
            <a:ext cx="225237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spension de fonction inférieure à 4 mois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43</a:t>
            </a: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 flipV="1">
            <a:off x="2727011" y="2312916"/>
            <a:ext cx="878109" cy="124391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Rectangle 88"/>
          <p:cNvSpPr/>
          <p:nvPr userDrawn="1"/>
        </p:nvSpPr>
        <p:spPr bwMode="auto">
          <a:xfrm>
            <a:off x="3605121" y="3176972"/>
            <a:ext cx="225237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spension de fonction inférieure à 4 mois (S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45</a:t>
            </a:r>
          </a:p>
        </p:txBody>
      </p:sp>
      <p:cxnSp>
        <p:nvCxnSpPr>
          <p:cNvPr id="6" name="Connecteur droit 5"/>
          <p:cNvCxnSpPr>
            <a:stCxn id="72" idx="3"/>
            <a:endCxn id="89" idx="1"/>
          </p:cNvCxnSpPr>
          <p:nvPr userDrawn="1"/>
        </p:nvCxnSpPr>
        <p:spPr bwMode="auto">
          <a:xfrm flipV="1">
            <a:off x="2727011" y="3536972"/>
            <a:ext cx="878110" cy="1985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0" name="Rectangle 89"/>
          <p:cNvSpPr/>
          <p:nvPr userDrawn="1"/>
        </p:nvSpPr>
        <p:spPr bwMode="auto">
          <a:xfrm>
            <a:off x="3605120" y="4473116"/>
            <a:ext cx="225237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établissement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ans les fonctions</a:t>
            </a:r>
          </a:p>
        </p:txBody>
      </p:sp>
      <p:cxnSp>
        <p:nvCxnSpPr>
          <p:cNvPr id="26" name="Connecteur droit 25"/>
          <p:cNvCxnSpPr>
            <a:stCxn id="72" idx="3"/>
            <a:endCxn id="90" idx="1"/>
          </p:cNvCxnSpPr>
          <p:nvPr userDrawn="1"/>
        </p:nvCxnSpPr>
        <p:spPr bwMode="auto">
          <a:xfrm>
            <a:off x="2727011" y="3556831"/>
            <a:ext cx="878109" cy="127628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 userDrawn="1"/>
        </p:nvSpPr>
        <p:spPr bwMode="auto">
          <a:xfrm rot="16200000">
            <a:off x="-1275442" y="3084099"/>
            <a:ext cx="363059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48" name="Image 47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7" name="Groupe 46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51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2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3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5" name="Groupe 5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5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7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0" name="Rectangle 69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1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" name="ZoneTexte 74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4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461609" y="339299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465168" y="4761148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5245" y="2167893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9752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reprise anticipée suite cong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69634"/>
            <a:ext cx="9061450" cy="8384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reprise</a:t>
            </a:r>
            <a:r>
              <a:rPr lang="fr-FR" sz="1800" kern="0" baseline="0" dirty="0"/>
              <a:t> anticipée des fonctions suite à</a:t>
            </a:r>
          </a:p>
          <a:p>
            <a:pPr eaLnBrk="1" hangingPunct="1"/>
            <a:r>
              <a:rPr lang="fr-FR" sz="1800" kern="0" baseline="0" dirty="0"/>
              <a:t>congé / absence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6978" y="317701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Reprise anticipée des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fonctions suite à congé / absence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3" name="TextBox 29"/>
          <p:cNvSpPr txBox="1"/>
          <p:nvPr userDrawn="1"/>
        </p:nvSpPr>
        <p:spPr>
          <a:xfrm>
            <a:off x="61095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78"/>
          <p:cNvSpPr/>
          <p:nvPr userDrawn="1"/>
        </p:nvSpPr>
        <p:spPr bwMode="auto">
          <a:xfrm>
            <a:off x="3034558" y="3705006"/>
            <a:ext cx="282294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prise anticipée des fonctions suite à congé/absence sans impact en rémunération</a:t>
            </a:r>
          </a:p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93</a:t>
            </a:r>
          </a:p>
        </p:txBody>
      </p:sp>
      <p:cxnSp>
        <p:nvCxnSpPr>
          <p:cNvPr id="4" name="Connecteur droit 3"/>
          <p:cNvCxnSpPr>
            <a:stCxn id="72" idx="3"/>
            <a:endCxn id="82" idx="1"/>
          </p:cNvCxnSpPr>
          <p:nvPr userDrawn="1"/>
        </p:nvCxnSpPr>
        <p:spPr bwMode="auto">
          <a:xfrm flipV="1">
            <a:off x="2616978" y="2906433"/>
            <a:ext cx="417580" cy="63057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Rectangle 81"/>
          <p:cNvSpPr/>
          <p:nvPr userDrawn="1"/>
        </p:nvSpPr>
        <p:spPr bwMode="auto">
          <a:xfrm>
            <a:off x="3034558" y="2546433"/>
            <a:ext cx="282294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prise anticipée des fonctions suite à congé/absence avec impact en rémunéra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91</a:t>
            </a:r>
          </a:p>
        </p:txBody>
      </p:sp>
      <p:cxnSp>
        <p:nvCxnSpPr>
          <p:cNvPr id="7" name="Connecteur droit 6"/>
          <p:cNvCxnSpPr>
            <a:stCxn id="72" idx="3"/>
            <a:endCxn id="79" idx="1"/>
          </p:cNvCxnSpPr>
          <p:nvPr userDrawn="1"/>
        </p:nvCxnSpPr>
        <p:spPr bwMode="auto">
          <a:xfrm>
            <a:off x="2616978" y="3537012"/>
            <a:ext cx="417580" cy="52799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Rectangle 47"/>
          <p:cNvSpPr/>
          <p:nvPr userDrawn="1"/>
        </p:nvSpPr>
        <p:spPr bwMode="auto">
          <a:xfrm>
            <a:off x="8621211" y="1763218"/>
            <a:ext cx="932466" cy="336010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7369282" y="1790727"/>
            <a:ext cx="932466" cy="333260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38" name="Rectangle 37"/>
          <p:cNvSpPr/>
          <p:nvPr userDrawn="1"/>
        </p:nvSpPr>
        <p:spPr bwMode="auto">
          <a:xfrm rot="16200000">
            <a:off x="-1155586" y="3083272"/>
            <a:ext cx="336011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pic>
        <p:nvPicPr>
          <p:cNvPr id="39" name="Image 3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2" name="Groupe 41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5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46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0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1" name="Groupe 50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52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3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4" name="Rectangle 53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5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" name="ZoneTexte 69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1" name="Image 7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946" y="2671734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946" y="385177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071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pare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 userDrawn="1"/>
        </p:nvSpPr>
        <p:spPr bwMode="auto">
          <a:xfrm>
            <a:off x="7241462" y="1818182"/>
            <a:ext cx="1150082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65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parental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40974" y="2750079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parental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3259108" y="1844824"/>
            <a:ext cx="293423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parental avec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60 (initial)</a:t>
            </a:r>
          </a:p>
        </p:txBody>
      </p:sp>
      <p:cxnSp>
        <p:nvCxnSpPr>
          <p:cNvPr id="98" name="Straight Connector 34"/>
          <p:cNvCxnSpPr>
            <a:stCxn id="72" idx="3"/>
            <a:endCxn id="97" idx="1"/>
          </p:cNvCxnSpPr>
          <p:nvPr userDrawn="1"/>
        </p:nvCxnSpPr>
        <p:spPr bwMode="auto">
          <a:xfrm flipV="1">
            <a:off x="2580974" y="2204824"/>
            <a:ext cx="678134" cy="90525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TextBox 29"/>
          <p:cNvSpPr txBox="1"/>
          <p:nvPr userDrawn="1"/>
        </p:nvSpPr>
        <p:spPr>
          <a:xfrm>
            <a:off x="61095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521794" y="1215201"/>
            <a:ext cx="10757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éintégration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30" name="Straight Connector 66"/>
          <p:cNvCxnSpPr/>
          <p:nvPr userDrawn="1"/>
        </p:nvCxnSpPr>
        <p:spPr bwMode="auto">
          <a:xfrm>
            <a:off x="7188505" y="1297953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68"/>
          <p:cNvCxnSpPr/>
          <p:nvPr userDrawn="1"/>
        </p:nvCxnSpPr>
        <p:spPr bwMode="auto">
          <a:xfrm>
            <a:off x="8444499" y="1292146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259108" y="3655334"/>
            <a:ext cx="292813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parental avec et sans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62 (initial)</a:t>
            </a:r>
          </a:p>
        </p:txBody>
      </p:sp>
      <p:cxnSp>
        <p:nvCxnSpPr>
          <p:cNvPr id="4" name="Connecteur droit 3"/>
          <p:cNvCxnSpPr>
            <a:stCxn id="72" idx="3"/>
            <a:endCxn id="74" idx="1"/>
          </p:cNvCxnSpPr>
          <p:nvPr userDrawn="1"/>
        </p:nvCxnSpPr>
        <p:spPr bwMode="auto">
          <a:xfrm>
            <a:off x="2580974" y="3110079"/>
            <a:ext cx="678134" cy="9052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 userDrawn="1"/>
        </p:nvSpPr>
        <p:spPr bwMode="auto">
          <a:xfrm rot="16200000">
            <a:off x="-831411" y="2804700"/>
            <a:ext cx="271175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42" name="Image 41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6" name="Groupe 45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7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8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5" name="Groupe 6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7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8" name="Rectangle 67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9177" y="3832466"/>
            <a:ext cx="318039" cy="336260"/>
          </a:xfrm>
          <a:prstGeom prst="rect">
            <a:avLst/>
          </a:prstGeom>
        </p:spPr>
      </p:pic>
      <p:sp>
        <p:nvSpPr>
          <p:cNvPr id="53" name="Rectangle 52"/>
          <p:cNvSpPr/>
          <p:nvPr userDrawn="1"/>
        </p:nvSpPr>
        <p:spPr bwMode="auto">
          <a:xfrm>
            <a:off x="8521794" y="1818182"/>
            <a:ext cx="1150082" cy="310996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r-FR" sz="1050" i="1" kern="0" dirty="0">
              <a:solidFill>
                <a:srgbClr val="004272"/>
              </a:solidFill>
              <a:latin typeface="Verdana" pitchFamily="34" charset="0"/>
              <a:ea typeface="ＭＳ Ｐゴシック" pitchFamily="34" charset="-128"/>
              <a:cs typeface="ＭＳ Ｐゴシック"/>
            </a:endParaRPr>
          </a:p>
          <a:p>
            <a:pPr algn="ctr"/>
            <a:endParaRPr lang="fr-FR" sz="1050" i="1" kern="0" dirty="0">
              <a:solidFill>
                <a:srgbClr val="004272"/>
              </a:solidFill>
              <a:latin typeface="Verdana" pitchFamily="34" charset="0"/>
              <a:ea typeface="ＭＳ Ｐゴシック" pitchFamily="34" charset="-128"/>
              <a:cs typeface="ＭＳ Ｐゴシック"/>
            </a:endParaRPr>
          </a:p>
          <a:p>
            <a:pPr algn="ctr"/>
            <a:endParaRPr lang="fr-FR" sz="1050" i="1" kern="0" dirty="0">
              <a:solidFill>
                <a:srgbClr val="004272"/>
              </a:solidFill>
              <a:latin typeface="Verdana" pitchFamily="34" charset="0"/>
              <a:ea typeface="ＭＳ Ｐゴシック" pitchFamily="34" charset="-128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16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4" name="Rectangle 53"/>
          <p:cNvSpPr/>
          <p:nvPr userDrawn="1"/>
        </p:nvSpPr>
        <p:spPr bwMode="auto">
          <a:xfrm>
            <a:off x="3260812" y="2744924"/>
            <a:ext cx="293423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parental sans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61 (initial)</a:t>
            </a:r>
          </a:p>
        </p:txBody>
      </p:sp>
      <p:cxnSp>
        <p:nvCxnSpPr>
          <p:cNvPr id="55" name="Connecteur droit 54"/>
          <p:cNvCxnSpPr>
            <a:stCxn id="72" idx="3"/>
            <a:endCxn id="54" idx="1"/>
          </p:cNvCxnSpPr>
          <p:nvPr userDrawn="1"/>
        </p:nvCxnSpPr>
        <p:spPr bwMode="auto">
          <a:xfrm flipV="1">
            <a:off x="2580974" y="3104924"/>
            <a:ext cx="679838" cy="51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76" y="2948724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76" y="1988840"/>
            <a:ext cx="318039" cy="336260"/>
          </a:xfrm>
          <a:prstGeom prst="rect">
            <a:avLst/>
          </a:prstGeom>
        </p:spPr>
      </p:pic>
      <p:sp>
        <p:nvSpPr>
          <p:cNvPr id="58" name="Rectangle 57"/>
          <p:cNvSpPr/>
          <p:nvPr userDrawn="1"/>
        </p:nvSpPr>
        <p:spPr bwMode="auto">
          <a:xfrm>
            <a:off x="7259302" y="2711675"/>
            <a:ext cx="1107903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67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9" name="Rectangle 58"/>
          <p:cNvSpPr/>
          <p:nvPr userDrawn="1"/>
        </p:nvSpPr>
        <p:spPr bwMode="auto">
          <a:xfrm>
            <a:off x="7257256" y="3652146"/>
            <a:ext cx="1107903" cy="72318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66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3440" y="2780928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8156" y="3894767"/>
            <a:ext cx="318039" cy="336260"/>
          </a:xfrm>
          <a:prstGeom prst="rect">
            <a:avLst/>
          </a:prstGeom>
        </p:spPr>
      </p:pic>
      <p:pic>
        <p:nvPicPr>
          <p:cNvPr id="61" name="Image 6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7402" y="2965521"/>
            <a:ext cx="318039" cy="336260"/>
          </a:xfrm>
          <a:prstGeom prst="rect">
            <a:avLst/>
          </a:prstGeom>
        </p:spPr>
      </p:pic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7402" y="202029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0449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congé pare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 userDrawn="1"/>
        </p:nvSpPr>
        <p:spPr bwMode="auto">
          <a:xfrm>
            <a:off x="7241462" y="1818182"/>
            <a:ext cx="1150082" cy="74664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68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0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disponibilité pour élever un enfant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40974" y="2750079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Disponibilité pour élever un enfan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3259108" y="1844824"/>
            <a:ext cx="293423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Disponibilité pour élever un enfant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ec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57 (initial)</a:t>
            </a:r>
          </a:p>
        </p:txBody>
      </p:sp>
      <p:cxnSp>
        <p:nvCxnSpPr>
          <p:cNvPr id="98" name="Straight Connector 34"/>
          <p:cNvCxnSpPr>
            <a:stCxn id="72" idx="3"/>
            <a:endCxn id="97" idx="1"/>
          </p:cNvCxnSpPr>
          <p:nvPr userDrawn="1"/>
        </p:nvCxnSpPr>
        <p:spPr bwMode="auto">
          <a:xfrm flipV="1">
            <a:off x="2580974" y="2204824"/>
            <a:ext cx="678134" cy="90525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TextBox 29"/>
          <p:cNvSpPr txBox="1"/>
          <p:nvPr userDrawn="1"/>
        </p:nvSpPr>
        <p:spPr>
          <a:xfrm>
            <a:off x="61095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521794" y="1215201"/>
            <a:ext cx="10757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éintégration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30" name="Straight Connector 66"/>
          <p:cNvCxnSpPr/>
          <p:nvPr userDrawn="1"/>
        </p:nvCxnSpPr>
        <p:spPr bwMode="auto">
          <a:xfrm>
            <a:off x="7188505" y="1297953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68"/>
          <p:cNvCxnSpPr/>
          <p:nvPr userDrawn="1"/>
        </p:nvCxnSpPr>
        <p:spPr bwMode="auto">
          <a:xfrm>
            <a:off x="8444499" y="1292146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259108" y="3655334"/>
            <a:ext cx="292813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Disponibilité pour élever un enfant avec et sans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64 (initial)</a:t>
            </a:r>
          </a:p>
        </p:txBody>
      </p:sp>
      <p:cxnSp>
        <p:nvCxnSpPr>
          <p:cNvPr id="4" name="Connecteur droit 3"/>
          <p:cNvCxnSpPr>
            <a:stCxn id="72" idx="3"/>
            <a:endCxn id="74" idx="1"/>
          </p:cNvCxnSpPr>
          <p:nvPr userDrawn="1"/>
        </p:nvCxnSpPr>
        <p:spPr bwMode="auto">
          <a:xfrm>
            <a:off x="2580974" y="3110079"/>
            <a:ext cx="678134" cy="9052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 userDrawn="1"/>
        </p:nvSpPr>
        <p:spPr bwMode="auto">
          <a:xfrm rot="16200000">
            <a:off x="-831411" y="2804700"/>
            <a:ext cx="271175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42" name="Image 41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6" name="Groupe 45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7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8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5" name="Groupe 6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7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8" name="Rectangle 67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sp>
        <p:nvSpPr>
          <p:cNvPr id="53" name="Rectangle 52"/>
          <p:cNvSpPr/>
          <p:nvPr userDrawn="1"/>
        </p:nvSpPr>
        <p:spPr bwMode="auto">
          <a:xfrm>
            <a:off x="8521794" y="1818182"/>
            <a:ext cx="1150082" cy="310996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r-FR" sz="1050" i="1" kern="0" dirty="0">
              <a:solidFill>
                <a:srgbClr val="004272"/>
              </a:solidFill>
              <a:latin typeface="Verdana" pitchFamily="34" charset="0"/>
              <a:ea typeface="ＭＳ Ｐゴシック" pitchFamily="34" charset="-128"/>
              <a:cs typeface="ＭＳ Ｐゴシック"/>
            </a:endParaRPr>
          </a:p>
          <a:p>
            <a:pPr algn="ctr"/>
            <a:endParaRPr lang="fr-FR" sz="1050" i="1" kern="0" dirty="0">
              <a:solidFill>
                <a:srgbClr val="004272"/>
              </a:solidFill>
              <a:latin typeface="Verdana" pitchFamily="34" charset="0"/>
              <a:ea typeface="ＭＳ Ｐゴシック" pitchFamily="34" charset="-128"/>
              <a:cs typeface="ＭＳ Ｐゴシック"/>
            </a:endParaRPr>
          </a:p>
          <a:p>
            <a:pPr algn="ctr"/>
            <a:endParaRPr lang="fr-FR" sz="1050" i="1" kern="0" dirty="0">
              <a:solidFill>
                <a:srgbClr val="004272"/>
              </a:solidFill>
              <a:latin typeface="Verdana" pitchFamily="34" charset="0"/>
              <a:ea typeface="ＭＳ Ｐゴシック" pitchFamily="34" charset="-128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16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4" name="Rectangle 53"/>
          <p:cNvSpPr/>
          <p:nvPr userDrawn="1"/>
        </p:nvSpPr>
        <p:spPr bwMode="auto">
          <a:xfrm>
            <a:off x="3260812" y="2744924"/>
            <a:ext cx="293423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Disponibilité pour élever un enfant sans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63 (initial)</a:t>
            </a:r>
          </a:p>
        </p:txBody>
      </p:sp>
      <p:cxnSp>
        <p:nvCxnSpPr>
          <p:cNvPr id="55" name="Connecteur droit 54"/>
          <p:cNvCxnSpPr>
            <a:stCxn id="72" idx="3"/>
            <a:endCxn id="54" idx="1"/>
          </p:cNvCxnSpPr>
          <p:nvPr userDrawn="1"/>
        </p:nvCxnSpPr>
        <p:spPr bwMode="auto">
          <a:xfrm flipV="1">
            <a:off x="2580974" y="3104924"/>
            <a:ext cx="679838" cy="51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Rectangle 57"/>
          <p:cNvSpPr/>
          <p:nvPr userDrawn="1"/>
        </p:nvSpPr>
        <p:spPr bwMode="auto">
          <a:xfrm>
            <a:off x="7259302" y="2747679"/>
            <a:ext cx="1107903" cy="71724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70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9" name="Rectangle 58"/>
          <p:cNvSpPr/>
          <p:nvPr userDrawn="1"/>
        </p:nvSpPr>
        <p:spPr bwMode="auto">
          <a:xfrm>
            <a:off x="7257256" y="3681028"/>
            <a:ext cx="1107903" cy="69430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69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3440" y="2780928"/>
            <a:ext cx="318039" cy="336260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4249" y="3856715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8041" y="2936794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4249" y="2016952"/>
            <a:ext cx="318039" cy="336260"/>
          </a:xfrm>
          <a:prstGeom prst="rect">
            <a:avLst/>
          </a:prstGeom>
        </p:spPr>
      </p:pic>
      <p:pic>
        <p:nvPicPr>
          <p:cNvPr id="61" name="Image 6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8458" y="2036694"/>
            <a:ext cx="318039" cy="336260"/>
          </a:xfrm>
          <a:prstGeom prst="rect">
            <a:avLst/>
          </a:prstGeom>
        </p:spPr>
      </p:pic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2187" y="2984252"/>
            <a:ext cx="318039" cy="336260"/>
          </a:xfrm>
          <a:prstGeom prst="rect">
            <a:avLst/>
          </a:prstGeom>
        </p:spPr>
      </p:pic>
      <p:pic>
        <p:nvPicPr>
          <p:cNvPr id="84" name="Image 8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7686" y="3881496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4834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trée fp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aphicFrame>
        <p:nvGraphicFramePr>
          <p:cNvPr id="4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0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9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’entrée dans la FPE (1/3)</a:t>
            </a:r>
          </a:p>
        </p:txBody>
      </p:sp>
      <p:sp>
        <p:nvSpPr>
          <p:cNvPr id="42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7" name="TextBox 29"/>
          <p:cNvSpPr txBox="1"/>
          <p:nvPr userDrawn="1"/>
        </p:nvSpPr>
        <p:spPr>
          <a:xfrm>
            <a:off x="5947418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8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8699945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Rectangle 97"/>
          <p:cNvSpPr/>
          <p:nvPr userDrawn="1"/>
        </p:nvSpPr>
        <p:spPr bwMode="auto">
          <a:xfrm>
            <a:off x="7396145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1" name="Straight Connector 66"/>
          <p:cNvCxnSpPr/>
          <p:nvPr userDrawn="1"/>
        </p:nvCxnSpPr>
        <p:spPr bwMode="auto">
          <a:xfrm>
            <a:off x="7169481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68"/>
          <p:cNvCxnSpPr/>
          <p:nvPr userDrawn="1"/>
        </p:nvCxnSpPr>
        <p:spPr bwMode="auto">
          <a:xfrm>
            <a:off x="8425475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45" name="Image 4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grpSp>
        <p:nvGrpSpPr>
          <p:cNvPr id="47" name="Groupe 46"/>
          <p:cNvGrpSpPr/>
          <p:nvPr userDrawn="1"/>
        </p:nvGrpSpPr>
        <p:grpSpPr>
          <a:xfrm>
            <a:off x="6283443" y="6201308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0" name="Groupe 49"/>
          <p:cNvGrpSpPr/>
          <p:nvPr userDrawn="1"/>
        </p:nvGrpSpPr>
        <p:grpSpPr>
          <a:xfrm>
            <a:off x="6398409" y="6459143"/>
            <a:ext cx="2538714" cy="246221"/>
            <a:chOff x="6108241" y="6533126"/>
            <a:chExt cx="2538714" cy="316030"/>
          </a:xfrm>
        </p:grpSpPr>
        <p:pic>
          <p:nvPicPr>
            <p:cNvPr id="5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2" name="TextBox 60"/>
            <p:cNvSpPr txBox="1"/>
            <p:nvPr/>
          </p:nvSpPr>
          <p:spPr>
            <a:xfrm>
              <a:off x="6507928" y="653312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5" name="Rectangle 54"/>
          <p:cNvSpPr/>
          <p:nvPr userDrawn="1"/>
        </p:nvSpPr>
        <p:spPr bwMode="auto">
          <a:xfrm>
            <a:off x="6263824" y="5349831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/>
          <p:cNvSpPr/>
          <p:nvPr userDrawn="1"/>
        </p:nvSpPr>
        <p:spPr bwMode="auto">
          <a:xfrm>
            <a:off x="3224808" y="1708887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stagiair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11</a:t>
            </a:r>
          </a:p>
        </p:txBody>
      </p:sp>
      <p:sp>
        <p:nvSpPr>
          <p:cNvPr id="58" name="Rectangle 57"/>
          <p:cNvSpPr/>
          <p:nvPr userDrawn="1"/>
        </p:nvSpPr>
        <p:spPr bwMode="auto">
          <a:xfrm rot="16200000">
            <a:off x="-1333609" y="3077325"/>
            <a:ext cx="364414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59" name="Image 5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3471" y="1900757"/>
            <a:ext cx="318039" cy="336260"/>
          </a:xfrm>
          <a:prstGeom prst="rect">
            <a:avLst/>
          </a:prstGeom>
        </p:spPr>
      </p:pic>
      <p:sp>
        <p:nvSpPr>
          <p:cNvPr id="6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6807886" y="59852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pic>
        <p:nvPicPr>
          <p:cNvPr id="6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ZoneTexte 66"/>
          <p:cNvSpPr txBox="1"/>
          <p:nvPr userDrawn="1"/>
        </p:nvSpPr>
        <p:spPr>
          <a:xfrm>
            <a:off x="6780171" y="5528555"/>
            <a:ext cx="2042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sp>
        <p:nvSpPr>
          <p:cNvPr id="56" name="TextBox 64"/>
          <p:cNvSpPr txBox="1"/>
          <p:nvPr userDrawn="1"/>
        </p:nvSpPr>
        <p:spPr>
          <a:xfrm>
            <a:off x="6156461" y="5190213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sp>
        <p:nvSpPr>
          <p:cNvPr id="46" name="TextBox 54"/>
          <p:cNvSpPr txBox="1"/>
          <p:nvPr userDrawn="1"/>
        </p:nvSpPr>
        <p:spPr>
          <a:xfrm>
            <a:off x="6283443" y="6275621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sp>
        <p:nvSpPr>
          <p:cNvPr id="39" name="Rectangle 38"/>
          <p:cNvSpPr/>
          <p:nvPr userDrawn="1"/>
        </p:nvSpPr>
        <p:spPr bwMode="auto">
          <a:xfrm>
            <a:off x="3224807" y="3095707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orogati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e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tag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21</a:t>
            </a: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3224808" y="4329100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olongation de stage congés interruptif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30</a:t>
            </a:r>
          </a:p>
        </p:txBody>
      </p:sp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4527718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0869" y="326823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4674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PP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0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0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période de </a:t>
            </a:r>
            <a:r>
              <a:rPr lang="fr-FR" sz="18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préparation au reclassement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963448" y="2636912"/>
            <a:ext cx="349360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cs typeface="Arial" panose="020B0604020202020204" pitchFamily="34" charset="0"/>
              </a:rPr>
              <a:t>Congé période de préparation au reclassement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cs typeface="Arial" panose="020B0604020202020204" pitchFamily="34" charset="0"/>
              </a:rPr>
              <a:t>(PPR)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 (Corps)"/>
                <a:cs typeface="Arial" panose="020B0604020202020204" pitchFamily="34" charset="0"/>
              </a:rPr>
              <a:t>INTPOS0003</a:t>
            </a:r>
          </a:p>
        </p:txBody>
      </p:sp>
      <p:sp>
        <p:nvSpPr>
          <p:cNvPr id="76" name="TextBox 29"/>
          <p:cNvSpPr txBox="1"/>
          <p:nvPr userDrawn="1"/>
        </p:nvSpPr>
        <p:spPr>
          <a:xfrm>
            <a:off x="61095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30" name="Straight Connector 66"/>
          <p:cNvCxnSpPr/>
          <p:nvPr userDrawn="1"/>
        </p:nvCxnSpPr>
        <p:spPr bwMode="auto">
          <a:xfrm>
            <a:off x="7188505" y="1297953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68"/>
          <p:cNvCxnSpPr/>
          <p:nvPr userDrawn="1"/>
        </p:nvCxnSpPr>
        <p:spPr bwMode="auto">
          <a:xfrm>
            <a:off x="8444499" y="1292146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 userDrawn="1"/>
        </p:nvSpPr>
        <p:spPr bwMode="auto">
          <a:xfrm rot="16200000">
            <a:off x="-831411" y="2804700"/>
            <a:ext cx="271175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42" name="Image 41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48" name="TextBox 59"/>
          <p:cNvSpPr txBox="1"/>
          <p:nvPr/>
        </p:nvSpPr>
        <p:spPr>
          <a:xfrm>
            <a:off x="6990437" y="6309325"/>
            <a:ext cx="2139027" cy="2462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cte en cours de validation</a:t>
            </a:r>
          </a:p>
        </p:txBody>
      </p:sp>
      <p:sp>
        <p:nvSpPr>
          <p:cNvPr id="5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5" name="Groupe 6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7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8" name="Rectangle 67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4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471434" y="285379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TextBox 54"/>
          <p:cNvSpPr txBox="1"/>
          <p:nvPr userDrawn="1"/>
        </p:nvSpPr>
        <p:spPr>
          <a:xfrm>
            <a:off x="6480077" y="6356841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sp>
        <p:nvSpPr>
          <p:cNvPr id="35" name="Rectangle 34"/>
          <p:cNvSpPr/>
          <p:nvPr userDrawn="1"/>
        </p:nvSpPr>
        <p:spPr bwMode="auto">
          <a:xfrm>
            <a:off x="8591450" y="2610153"/>
            <a:ext cx="1150082" cy="6453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54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3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053897" y="285379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75724" y="2911882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604005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P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position normale d’activité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3" name="TextBox 29"/>
          <p:cNvSpPr txBox="1"/>
          <p:nvPr userDrawn="1"/>
        </p:nvSpPr>
        <p:spPr>
          <a:xfrm>
            <a:off x="6022589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96965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78583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 flipH="1">
            <a:off x="7244652" y="1466739"/>
            <a:ext cx="1" cy="379846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500646" y="1479315"/>
            <a:ext cx="0" cy="378588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63"/>
          <p:cNvSpPr/>
          <p:nvPr userDrawn="1"/>
        </p:nvSpPr>
        <p:spPr bwMode="auto">
          <a:xfrm>
            <a:off x="7471316" y="3877288"/>
            <a:ext cx="793957" cy="63183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5" name="Rectangle 64"/>
          <p:cNvSpPr/>
          <p:nvPr userDrawn="1"/>
        </p:nvSpPr>
        <p:spPr bwMode="auto">
          <a:xfrm>
            <a:off x="8727309" y="1418698"/>
            <a:ext cx="793957" cy="309042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1" name="Rectangle 70"/>
          <p:cNvSpPr/>
          <p:nvPr userDrawn="1"/>
        </p:nvSpPr>
        <p:spPr bwMode="auto">
          <a:xfrm>
            <a:off x="1136576" y="3157289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Position normale d’activité (PNA) </a:t>
            </a:r>
          </a:p>
        </p:txBody>
      </p:sp>
      <p:sp>
        <p:nvSpPr>
          <p:cNvPr id="78" name="Rectangle 77"/>
          <p:cNvSpPr/>
          <p:nvPr userDrawn="1"/>
        </p:nvSpPr>
        <p:spPr bwMode="auto">
          <a:xfrm>
            <a:off x="3121239" y="2024464"/>
            <a:ext cx="110837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sortante</a:t>
            </a:r>
          </a:p>
        </p:txBody>
      </p:sp>
      <p:cxnSp>
        <p:nvCxnSpPr>
          <p:cNvPr id="79" name="Straight Connector 34"/>
          <p:cNvCxnSpPr>
            <a:stCxn id="71" idx="3"/>
            <a:endCxn id="78" idx="1"/>
          </p:cNvCxnSpPr>
          <p:nvPr userDrawn="1"/>
        </p:nvCxnSpPr>
        <p:spPr bwMode="auto">
          <a:xfrm flipV="1">
            <a:off x="2576576" y="2384464"/>
            <a:ext cx="544663" cy="113282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Rectangle 81"/>
          <p:cNvSpPr/>
          <p:nvPr userDrawn="1"/>
        </p:nvSpPr>
        <p:spPr bwMode="auto">
          <a:xfrm>
            <a:off x="3121239" y="4290115"/>
            <a:ext cx="110837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entrante</a:t>
            </a:r>
          </a:p>
        </p:txBody>
      </p:sp>
      <p:cxnSp>
        <p:nvCxnSpPr>
          <p:cNvPr id="89" name="Straight Connector 34"/>
          <p:cNvCxnSpPr>
            <a:stCxn id="71" idx="3"/>
            <a:endCxn id="82" idx="1"/>
          </p:cNvCxnSpPr>
          <p:nvPr userDrawn="1"/>
        </p:nvCxnSpPr>
        <p:spPr bwMode="auto">
          <a:xfrm>
            <a:off x="2576576" y="3517289"/>
            <a:ext cx="544663" cy="113282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0" name="Rectangle 89"/>
          <p:cNvSpPr/>
          <p:nvPr userDrawn="1"/>
        </p:nvSpPr>
        <p:spPr bwMode="auto">
          <a:xfrm>
            <a:off x="4629144" y="2204864"/>
            <a:ext cx="1620000" cy="68782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sortante, payée accueil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56 (avec durée)</a:t>
            </a:r>
          </a:p>
        </p:txBody>
      </p:sp>
      <p:sp>
        <p:nvSpPr>
          <p:cNvPr id="91" name="Rectangle 90"/>
          <p:cNvSpPr/>
          <p:nvPr userDrawn="1"/>
        </p:nvSpPr>
        <p:spPr bwMode="auto">
          <a:xfrm>
            <a:off x="4603896" y="1448780"/>
            <a:ext cx="1620000" cy="66795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sortante, payée origine</a:t>
            </a:r>
          </a:p>
        </p:txBody>
      </p:sp>
      <p:sp>
        <p:nvSpPr>
          <p:cNvPr id="92" name="Rectangle 91"/>
          <p:cNvSpPr/>
          <p:nvPr userDrawn="1"/>
        </p:nvSpPr>
        <p:spPr bwMode="auto">
          <a:xfrm>
            <a:off x="4603896" y="3868994"/>
            <a:ext cx="1620000" cy="64012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entrante, payée origine</a:t>
            </a:r>
          </a:p>
        </p:txBody>
      </p:sp>
      <p:sp>
        <p:nvSpPr>
          <p:cNvPr id="93" name="Rectangle 92"/>
          <p:cNvSpPr/>
          <p:nvPr userDrawn="1"/>
        </p:nvSpPr>
        <p:spPr bwMode="auto">
          <a:xfrm>
            <a:off x="4615583" y="4689140"/>
            <a:ext cx="1620000" cy="62928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entrante, payée accueil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51</a:t>
            </a:r>
          </a:p>
        </p:txBody>
      </p:sp>
      <p:cxnSp>
        <p:nvCxnSpPr>
          <p:cNvPr id="94" name="Connecteur droit 93"/>
          <p:cNvCxnSpPr>
            <a:stCxn id="78" idx="3"/>
            <a:endCxn id="91" idx="1"/>
          </p:cNvCxnSpPr>
          <p:nvPr userDrawn="1"/>
        </p:nvCxnSpPr>
        <p:spPr bwMode="auto">
          <a:xfrm flipV="1">
            <a:off x="4229614" y="1782755"/>
            <a:ext cx="374282" cy="601709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Connecteur droit 94"/>
          <p:cNvCxnSpPr>
            <a:stCxn id="78" idx="3"/>
            <a:endCxn id="90" idx="1"/>
          </p:cNvCxnSpPr>
          <p:nvPr userDrawn="1"/>
        </p:nvCxnSpPr>
        <p:spPr bwMode="auto">
          <a:xfrm>
            <a:off x="4229614" y="2384464"/>
            <a:ext cx="399530" cy="164313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Connecteur droit 95"/>
          <p:cNvCxnSpPr>
            <a:stCxn id="82" idx="3"/>
            <a:endCxn id="92" idx="1"/>
          </p:cNvCxnSpPr>
          <p:nvPr userDrawn="1"/>
        </p:nvCxnSpPr>
        <p:spPr bwMode="auto">
          <a:xfrm flipV="1">
            <a:off x="4229615" y="4189057"/>
            <a:ext cx="374281" cy="461058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Connecteur droit 96"/>
          <p:cNvCxnSpPr>
            <a:stCxn id="82" idx="3"/>
            <a:endCxn id="93" idx="1"/>
          </p:cNvCxnSpPr>
          <p:nvPr userDrawn="1"/>
        </p:nvCxnSpPr>
        <p:spPr bwMode="auto">
          <a:xfrm>
            <a:off x="4229615" y="4650115"/>
            <a:ext cx="385968" cy="353668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" name="Rectangle 59"/>
          <p:cNvSpPr/>
          <p:nvPr userDrawn="1"/>
        </p:nvSpPr>
        <p:spPr bwMode="auto">
          <a:xfrm rot="16200000">
            <a:off x="-1368458" y="3364327"/>
            <a:ext cx="378585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61" name="Image 60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9" name="Groupe 68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7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2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7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75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0" name="Groupe 7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3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4" name="Rectangle 83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5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ZoneTexte 86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8" name="Image 8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172" y="5526231"/>
            <a:ext cx="318039" cy="336260"/>
          </a:xfrm>
          <a:prstGeom prst="rect">
            <a:avLst/>
          </a:prstGeom>
        </p:spPr>
      </p:pic>
      <p:pic>
        <p:nvPicPr>
          <p:cNvPr id="98" name="Image 9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sp>
        <p:nvSpPr>
          <p:cNvPr id="56" name="Rectangle 55"/>
          <p:cNvSpPr/>
          <p:nvPr userDrawn="1"/>
        </p:nvSpPr>
        <p:spPr bwMode="auto">
          <a:xfrm>
            <a:off x="7479889" y="1418698"/>
            <a:ext cx="817207" cy="78061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55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87592" y="1795758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641708" y="4117961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Rectangle 61"/>
          <p:cNvSpPr/>
          <p:nvPr userDrawn="1"/>
        </p:nvSpPr>
        <p:spPr bwMode="auto">
          <a:xfrm>
            <a:off x="4628964" y="2960948"/>
            <a:ext cx="1620000" cy="68782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PNA sortante, payée accueil fi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45</a:t>
            </a:r>
          </a:p>
        </p:txBody>
      </p:sp>
      <p:cxnSp>
        <p:nvCxnSpPr>
          <p:cNvPr id="63" name="Connecteur droit 62"/>
          <p:cNvCxnSpPr>
            <a:stCxn id="78" idx="3"/>
            <a:endCxn id="62" idx="1"/>
          </p:cNvCxnSpPr>
          <p:nvPr userDrawn="1"/>
        </p:nvCxnSpPr>
        <p:spPr bwMode="auto">
          <a:xfrm>
            <a:off x="4229614" y="2384464"/>
            <a:ext cx="399350" cy="920397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980" y="2420888"/>
            <a:ext cx="318039" cy="336260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874" y="4764614"/>
            <a:ext cx="318039" cy="336260"/>
          </a:xfrm>
          <a:prstGeom prst="rect">
            <a:avLst/>
          </a:prstGeom>
        </p:spPr>
      </p:pic>
      <p:sp>
        <p:nvSpPr>
          <p:cNvPr id="58" name="Rectangle 57"/>
          <p:cNvSpPr/>
          <p:nvPr userDrawn="1"/>
        </p:nvSpPr>
        <p:spPr bwMode="auto">
          <a:xfrm>
            <a:off x="7297226" y="4682349"/>
            <a:ext cx="1150082" cy="63607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43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00" name="Rectangle 99"/>
          <p:cNvSpPr/>
          <p:nvPr userDrawn="1"/>
        </p:nvSpPr>
        <p:spPr bwMode="auto">
          <a:xfrm>
            <a:off x="7293253" y="2267984"/>
            <a:ext cx="1150082" cy="63607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44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102" name="Picture 2" descr="D:\SkyDrive\Pro\Divers\Couteau suisse\PNG\Flèches &amp; signes\button_ok.png">
            <a:extLst>
              <a:ext uri="{FF2B5EF4-FFF2-40B4-BE49-F238E27FC236}">
                <a16:creationId xmlns:a16="http://schemas.microsoft.com/office/drawing/2014/main" id="{F9E7AA61-6AC1-46F4-BB15-5B03E56D31A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40500" y="2540230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" name="Image 102">
            <a:extLst>
              <a:ext uri="{FF2B5EF4-FFF2-40B4-BE49-F238E27FC236}">
                <a16:creationId xmlns:a16="http://schemas.microsoft.com/office/drawing/2014/main" id="{84B12EAD-E7D1-4D63-9D69-EAA673E9BE4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5348" y="3114877"/>
            <a:ext cx="318039" cy="336260"/>
          </a:xfrm>
          <a:prstGeom prst="rect">
            <a:avLst/>
          </a:prstGeom>
        </p:spPr>
      </p:pic>
      <p:pic>
        <p:nvPicPr>
          <p:cNvPr id="104" name="Picture 2" descr="D:\SkyDrive\Pro\Divers\Couteau suisse\PNG\Flèches &amp; signes\button_ok.png">
            <a:extLst>
              <a:ext uri="{FF2B5EF4-FFF2-40B4-BE49-F238E27FC236}">
                <a16:creationId xmlns:a16="http://schemas.microsoft.com/office/drawing/2014/main" id="{EEE9D059-CECA-4340-B3CF-C600194B44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40499" y="4925548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" name="Rectangle 104">
            <a:extLst>
              <a:ext uri="{FF2B5EF4-FFF2-40B4-BE49-F238E27FC236}">
                <a16:creationId xmlns:a16="http://schemas.microsoft.com/office/drawing/2014/main" id="{AFA018D3-A279-4C67-9187-567E16A86513}"/>
              </a:ext>
            </a:extLst>
          </p:cNvPr>
          <p:cNvSpPr/>
          <p:nvPr userDrawn="1"/>
        </p:nvSpPr>
        <p:spPr bwMode="auto">
          <a:xfrm>
            <a:off x="8572116" y="4676488"/>
            <a:ext cx="1135652" cy="59048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POS0077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106" name="Image 105">
            <a:extLst>
              <a:ext uri="{FF2B5EF4-FFF2-40B4-BE49-F238E27FC236}">
                <a16:creationId xmlns:a16="http://schemas.microsoft.com/office/drawing/2014/main" id="{51AD07E8-868C-4B22-8225-89D5567B06BE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6735" y="4872134"/>
            <a:ext cx="362413" cy="36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9486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MAD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/>
          <p:cNvSpPr/>
          <p:nvPr userDrawn="1"/>
        </p:nvSpPr>
        <p:spPr bwMode="auto">
          <a:xfrm>
            <a:off x="7280807" y="1772816"/>
            <a:ext cx="1007717" cy="26282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24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mise à disposition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965242" y="2713017"/>
            <a:ext cx="111413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Mise à disposition (MAD)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585389" y="1772816"/>
            <a:ext cx="143933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MAD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ortante sans changement de résidence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079381" y="2132816"/>
            <a:ext cx="506008" cy="94020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9" name="Rectangle 98"/>
          <p:cNvSpPr/>
          <p:nvPr userDrawn="1"/>
        </p:nvSpPr>
        <p:spPr bwMode="auto">
          <a:xfrm>
            <a:off x="2585389" y="3681108"/>
            <a:ext cx="144079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MAD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ortante avec changement de résidence en métropole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100" name="Straight Connector 34"/>
          <p:cNvCxnSpPr>
            <a:stCxn id="72" idx="3"/>
            <a:endCxn id="99" idx="1"/>
          </p:cNvCxnSpPr>
          <p:nvPr userDrawn="1"/>
        </p:nvCxnSpPr>
        <p:spPr bwMode="auto">
          <a:xfrm>
            <a:off x="2079381" y="3073017"/>
            <a:ext cx="506008" cy="96809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TextBox 29"/>
          <p:cNvSpPr txBox="1"/>
          <p:nvPr userDrawn="1"/>
        </p:nvSpPr>
        <p:spPr>
          <a:xfrm>
            <a:off x="5780162" y="1062958"/>
            <a:ext cx="1552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466602" y="1062958"/>
            <a:ext cx="13109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166531" y="1062958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30" name="Straight Connector 66"/>
          <p:cNvCxnSpPr/>
          <p:nvPr userDrawn="1"/>
        </p:nvCxnSpPr>
        <p:spPr bwMode="auto">
          <a:xfrm>
            <a:off x="7132600" y="1658339"/>
            <a:ext cx="33931" cy="361903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68"/>
          <p:cNvCxnSpPr/>
          <p:nvPr userDrawn="1"/>
        </p:nvCxnSpPr>
        <p:spPr bwMode="auto">
          <a:xfrm>
            <a:off x="8399758" y="1658339"/>
            <a:ext cx="0" cy="361903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Rectangle 88"/>
          <p:cNvSpPr/>
          <p:nvPr userDrawn="1"/>
        </p:nvSpPr>
        <p:spPr bwMode="auto">
          <a:xfrm>
            <a:off x="4209415" y="1888165"/>
            <a:ext cx="1829027" cy="48063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MAD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ortante sans changement de résidenc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22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0" name="Rectangle 89"/>
          <p:cNvSpPr/>
          <p:nvPr userDrawn="1"/>
        </p:nvSpPr>
        <p:spPr bwMode="auto">
          <a:xfrm>
            <a:off x="4218553" y="3681108"/>
            <a:ext cx="184319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MAD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ortante avec changement de résidence en métropol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21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110" name="Connecteur droit 109"/>
          <p:cNvCxnSpPr>
            <a:stCxn id="74" idx="3"/>
            <a:endCxn id="89" idx="1"/>
          </p:cNvCxnSpPr>
          <p:nvPr userDrawn="1"/>
        </p:nvCxnSpPr>
        <p:spPr bwMode="auto">
          <a:xfrm flipV="1">
            <a:off x="4024727" y="2128484"/>
            <a:ext cx="184688" cy="433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Connecteur droit 118"/>
          <p:cNvCxnSpPr>
            <a:stCxn id="99" idx="3"/>
            <a:endCxn id="90" idx="1"/>
          </p:cNvCxnSpPr>
          <p:nvPr userDrawn="1"/>
        </p:nvCxnSpPr>
        <p:spPr bwMode="auto">
          <a:xfrm>
            <a:off x="4026187" y="4041108"/>
            <a:ext cx="19236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Rectangle 65"/>
          <p:cNvSpPr/>
          <p:nvPr userDrawn="1"/>
        </p:nvSpPr>
        <p:spPr bwMode="auto">
          <a:xfrm rot="16200000">
            <a:off x="-1784215" y="3338174"/>
            <a:ext cx="461736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61" name="Image 60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8" name="Groupe 67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83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86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87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95" name="Groupe 94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10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105" name="Rectangle 104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9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11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" name="ZoneTexte 111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14" name="Image 11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172" y="5526231"/>
            <a:ext cx="318039" cy="336260"/>
          </a:xfrm>
          <a:prstGeom prst="rect">
            <a:avLst/>
          </a:prstGeom>
        </p:spPr>
      </p:pic>
      <p:pic>
        <p:nvPicPr>
          <p:cNvPr id="115" name="Image 11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sp>
        <p:nvSpPr>
          <p:cNvPr id="73" name="Rectangle 72"/>
          <p:cNvSpPr/>
          <p:nvPr userDrawn="1"/>
        </p:nvSpPr>
        <p:spPr bwMode="auto">
          <a:xfrm>
            <a:off x="8554944" y="1772816"/>
            <a:ext cx="1007717" cy="26282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23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2594477" y="2708738"/>
            <a:ext cx="143626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MAD sortante avec changement de résidence hors métropole</a:t>
            </a:r>
          </a:p>
        </p:txBody>
      </p:sp>
      <p:cxnSp>
        <p:nvCxnSpPr>
          <p:cNvPr id="84" name="Connecteur droit 83"/>
          <p:cNvCxnSpPr/>
          <p:nvPr userDrawn="1"/>
        </p:nvCxnSpPr>
        <p:spPr bwMode="auto">
          <a:xfrm>
            <a:off x="4030739" y="3054535"/>
            <a:ext cx="167101" cy="22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3" name="Rectangle 92"/>
          <p:cNvSpPr/>
          <p:nvPr userDrawn="1"/>
        </p:nvSpPr>
        <p:spPr bwMode="auto">
          <a:xfrm>
            <a:off x="4194163" y="2636993"/>
            <a:ext cx="1843192" cy="82801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MAD sortante avec changement de résidence hors métropole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20 (initial)</a:t>
            </a:r>
          </a:p>
        </p:txBody>
      </p:sp>
      <p:cxnSp>
        <p:nvCxnSpPr>
          <p:cNvPr id="101" name="Straight Connector 34"/>
          <p:cNvCxnSpPr>
            <a:endCxn id="79" idx="1"/>
          </p:cNvCxnSpPr>
          <p:nvPr userDrawn="1"/>
        </p:nvCxnSpPr>
        <p:spPr bwMode="auto">
          <a:xfrm flipV="1">
            <a:off x="2113472" y="3068738"/>
            <a:ext cx="481005" cy="969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4125" y="2112907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3049" y="2112907"/>
            <a:ext cx="318039" cy="33626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4755" y="1944777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6750" y="2888940"/>
            <a:ext cx="318039" cy="336260"/>
          </a:xfrm>
          <a:prstGeom prst="rect">
            <a:avLst/>
          </a:prstGeom>
        </p:spPr>
      </p:pic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2633" y="386104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9218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asque Processus Prolongation activit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313502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a prolongation / allongement</a:t>
            </a:r>
            <a:r>
              <a:rPr lang="fr-FR" sz="1800" kern="0" baseline="0" dirty="0"/>
              <a:t> d’activité</a:t>
            </a:r>
            <a:endParaRPr lang="fr-FR" sz="1600" kern="0" dirty="0"/>
          </a:p>
          <a:p>
            <a:pPr eaLnBrk="1" hangingPunct="1"/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333023" y="2396781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Prolongation d’activité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47418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396145" y="1755695"/>
            <a:ext cx="793957" cy="350950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169481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25475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833813" y="1830015"/>
            <a:ext cx="213682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olongati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’activité art 1.1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41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 flipV="1">
            <a:off x="2950053" y="2190015"/>
            <a:ext cx="883760" cy="56676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ectangle 35"/>
          <p:cNvSpPr/>
          <p:nvPr userDrawn="1"/>
        </p:nvSpPr>
        <p:spPr bwMode="auto">
          <a:xfrm rot="16200000">
            <a:off x="-862565" y="3029577"/>
            <a:ext cx="274314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sp>
        <p:nvSpPr>
          <p:cNvPr id="39" name="Rectangle 38"/>
          <p:cNvSpPr/>
          <p:nvPr userDrawn="1"/>
        </p:nvSpPr>
        <p:spPr bwMode="auto">
          <a:xfrm>
            <a:off x="3833813" y="3093221"/>
            <a:ext cx="213682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olongation d’activité art 1.3</a:t>
            </a:r>
          </a:p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42</a:t>
            </a:r>
          </a:p>
        </p:txBody>
      </p:sp>
      <p:cxnSp>
        <p:nvCxnSpPr>
          <p:cNvPr id="42" name="Straight Connector 34"/>
          <p:cNvCxnSpPr>
            <a:stCxn id="72" idx="3"/>
            <a:endCxn id="39" idx="1"/>
          </p:cNvCxnSpPr>
          <p:nvPr userDrawn="1"/>
        </p:nvCxnSpPr>
        <p:spPr bwMode="auto">
          <a:xfrm>
            <a:off x="2950053" y="2756781"/>
            <a:ext cx="883760" cy="69644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 userDrawn="1"/>
        </p:nvSpPr>
        <p:spPr bwMode="auto">
          <a:xfrm>
            <a:off x="8689560" y="1755696"/>
            <a:ext cx="793957" cy="348609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46" name="Image 45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7" name="Groupe 46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2" name="Groupe 51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5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5" name="Rectangle 54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6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5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ZoneTexte 57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sp>
        <p:nvSpPr>
          <p:cNvPr id="61" name="Rectangle 60"/>
          <p:cNvSpPr/>
          <p:nvPr userDrawn="1"/>
        </p:nvSpPr>
        <p:spPr bwMode="auto">
          <a:xfrm>
            <a:off x="1333023" y="4316808"/>
            <a:ext cx="1617030" cy="67835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i="0" kern="0" dirty="0">
                <a:solidFill>
                  <a:srgbClr val="004272"/>
                </a:solidFill>
                <a:latin typeface="+mn-lt"/>
                <a:cs typeface="ＭＳ Ｐゴシック"/>
              </a:rPr>
              <a:t>Allongement</a:t>
            </a:r>
            <a:r>
              <a:rPr lang="fr-FR" sz="1100" b="1" i="0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  <a:r>
              <a:rPr lang="fr-FR" sz="1100" b="1" i="0" kern="0" dirty="0">
                <a:solidFill>
                  <a:srgbClr val="004272"/>
                </a:solidFill>
                <a:latin typeface="+mn-lt"/>
                <a:cs typeface="ＭＳ Ｐゴシック"/>
              </a:rPr>
              <a:t>d’activité</a:t>
            </a:r>
          </a:p>
        </p:txBody>
      </p:sp>
      <p:sp>
        <p:nvSpPr>
          <p:cNvPr id="63" name="Rectangle 62"/>
          <p:cNvSpPr/>
          <p:nvPr userDrawn="1"/>
        </p:nvSpPr>
        <p:spPr bwMode="auto">
          <a:xfrm>
            <a:off x="3842563" y="4316809"/>
            <a:ext cx="2136824" cy="67835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cul limite d’âg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38</a:t>
            </a:r>
          </a:p>
        </p:txBody>
      </p:sp>
      <p:pic>
        <p:nvPicPr>
          <p:cNvPr id="64" name="Image 6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731" y="4514986"/>
            <a:ext cx="318039" cy="336260"/>
          </a:xfrm>
          <a:prstGeom prst="rect">
            <a:avLst/>
          </a:prstGeom>
        </p:spPr>
      </p:pic>
      <p:cxnSp>
        <p:nvCxnSpPr>
          <p:cNvPr id="65" name="Straight Connector 34"/>
          <p:cNvCxnSpPr>
            <a:stCxn id="61" idx="3"/>
            <a:endCxn id="63" idx="1"/>
          </p:cNvCxnSpPr>
          <p:nvPr userDrawn="1"/>
        </p:nvCxnSpPr>
        <p:spPr bwMode="auto">
          <a:xfrm>
            <a:off x="2950053" y="4655984"/>
            <a:ext cx="892510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731" y="3301998"/>
            <a:ext cx="318039" cy="336260"/>
          </a:xfrm>
          <a:prstGeom prst="rect">
            <a:avLst/>
          </a:prstGeom>
        </p:spPr>
      </p:pic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36" y="2018006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9950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détach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détachement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993746" y="331535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Détachement</a:t>
            </a:r>
          </a:p>
        </p:txBody>
      </p:sp>
      <p:cxnSp>
        <p:nvCxnSpPr>
          <p:cNvPr id="79" name="Straight Connector 52"/>
          <p:cNvCxnSpPr>
            <a:stCxn id="72" idx="3"/>
            <a:endCxn id="104" idx="1"/>
          </p:cNvCxnSpPr>
          <p:nvPr userDrawn="1"/>
        </p:nvCxnSpPr>
        <p:spPr bwMode="auto">
          <a:xfrm flipV="1">
            <a:off x="2433746" y="3482976"/>
            <a:ext cx="1164099" cy="192378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Rectangle 79"/>
          <p:cNvSpPr/>
          <p:nvPr userDrawn="1"/>
        </p:nvSpPr>
        <p:spPr bwMode="auto">
          <a:xfrm>
            <a:off x="3584848" y="1664804"/>
            <a:ext cx="2430185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tachement au sein de la FPE sur un emploi conduisant à pension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05</a:t>
            </a:r>
          </a:p>
        </p:txBody>
      </p:sp>
      <p:cxnSp>
        <p:nvCxnSpPr>
          <p:cNvPr id="81" name="Straight Connector 34"/>
          <p:cNvCxnSpPr>
            <a:stCxn id="72" idx="3"/>
            <a:endCxn id="80" idx="1"/>
          </p:cNvCxnSpPr>
          <p:nvPr userDrawn="1"/>
        </p:nvCxnSpPr>
        <p:spPr bwMode="auto">
          <a:xfrm flipV="1">
            <a:off x="2433746" y="1934804"/>
            <a:ext cx="1151102" cy="174055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3" name="Rectangle 102"/>
          <p:cNvSpPr/>
          <p:nvPr userDrawn="1"/>
        </p:nvSpPr>
        <p:spPr bwMode="auto">
          <a:xfrm>
            <a:off x="3602935" y="2420888"/>
            <a:ext cx="2430185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tachement hors FPE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06</a:t>
            </a:r>
          </a:p>
        </p:txBody>
      </p:sp>
      <p:sp>
        <p:nvSpPr>
          <p:cNvPr id="104" name="Rectangle 103"/>
          <p:cNvSpPr/>
          <p:nvPr userDrawn="1"/>
        </p:nvSpPr>
        <p:spPr bwMode="auto">
          <a:xfrm>
            <a:off x="3597845" y="3212976"/>
            <a:ext cx="2430185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éintégra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16</a:t>
            </a:r>
          </a:p>
        </p:txBody>
      </p:sp>
      <p:cxnSp>
        <p:nvCxnSpPr>
          <p:cNvPr id="105" name="Straight Connector 52"/>
          <p:cNvCxnSpPr>
            <a:stCxn id="72" idx="3"/>
            <a:endCxn id="103" idx="1"/>
          </p:cNvCxnSpPr>
          <p:nvPr userDrawn="1"/>
        </p:nvCxnSpPr>
        <p:spPr bwMode="auto">
          <a:xfrm flipV="1">
            <a:off x="2433746" y="2690888"/>
            <a:ext cx="1169189" cy="98446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9" name="TextBox 29"/>
          <p:cNvSpPr txBox="1"/>
          <p:nvPr userDrawn="1"/>
        </p:nvSpPr>
        <p:spPr>
          <a:xfrm>
            <a:off x="6070310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00" name="TextBox 65"/>
          <p:cNvSpPr txBox="1"/>
          <p:nvPr userDrawn="1"/>
        </p:nvSpPr>
        <p:spPr>
          <a:xfrm>
            <a:off x="8557798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2" name="TextBox 69"/>
          <p:cNvSpPr txBox="1"/>
          <p:nvPr userDrawn="1"/>
        </p:nvSpPr>
        <p:spPr>
          <a:xfrm>
            <a:off x="7236204" y="112968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6" name="Straight Connector 66"/>
          <p:cNvCxnSpPr/>
          <p:nvPr userDrawn="1"/>
        </p:nvCxnSpPr>
        <p:spPr bwMode="auto">
          <a:xfrm flipH="1">
            <a:off x="7193598" y="1466739"/>
            <a:ext cx="8676" cy="38729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7" name="Straight Connector 68"/>
          <p:cNvCxnSpPr/>
          <p:nvPr userDrawn="1"/>
        </p:nvCxnSpPr>
        <p:spPr bwMode="auto">
          <a:xfrm>
            <a:off x="8458267" y="1460932"/>
            <a:ext cx="22573" cy="387870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424559" y="3248748"/>
            <a:ext cx="389805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59" name="Image 5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2" name="Groupe 61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3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4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6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87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8" name="Groupe 87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9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1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2" name="Rectangle 91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3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" name="ZoneTexte 94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6" name="Image 9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97" name="Image 9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98" name="Image 9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208" y="3292583"/>
            <a:ext cx="318039" cy="336260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5193" y="2588323"/>
            <a:ext cx="318039" cy="336260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8286" y="1766674"/>
            <a:ext cx="318039" cy="336260"/>
          </a:xfrm>
          <a:prstGeom prst="rect">
            <a:avLst/>
          </a:prstGeom>
        </p:spPr>
      </p:pic>
      <p:pic>
        <p:nvPicPr>
          <p:cNvPr id="53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61312" y="1838438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61312" y="2667101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Rectangle 56"/>
          <p:cNvSpPr/>
          <p:nvPr userDrawn="1"/>
        </p:nvSpPr>
        <p:spPr bwMode="auto">
          <a:xfrm>
            <a:off x="3602935" y="4653196"/>
            <a:ext cx="2430185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égration accueil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ite 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détachement_sortant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24</a:t>
            </a:r>
          </a:p>
        </p:txBody>
      </p:sp>
      <p:cxnSp>
        <p:nvCxnSpPr>
          <p:cNvPr id="58" name="Straight Connector 52"/>
          <p:cNvCxnSpPr>
            <a:stCxn id="72" idx="3"/>
            <a:endCxn id="57" idx="1"/>
          </p:cNvCxnSpPr>
          <p:nvPr userDrawn="1"/>
        </p:nvCxnSpPr>
        <p:spPr bwMode="auto">
          <a:xfrm>
            <a:off x="2433746" y="3675354"/>
            <a:ext cx="1169189" cy="124784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64"/>
          <p:cNvSpPr/>
          <p:nvPr userDrawn="1"/>
        </p:nvSpPr>
        <p:spPr bwMode="auto">
          <a:xfrm>
            <a:off x="8715412" y="1755695"/>
            <a:ext cx="793957" cy="350950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7" name="Rectangle 66"/>
          <p:cNvSpPr/>
          <p:nvPr userDrawn="1"/>
        </p:nvSpPr>
        <p:spPr bwMode="auto">
          <a:xfrm>
            <a:off x="7437276" y="3482321"/>
            <a:ext cx="793957" cy="177550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49" name="Image 4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207" y="4748924"/>
            <a:ext cx="318039" cy="336260"/>
          </a:xfrm>
          <a:prstGeom prst="rect">
            <a:avLst/>
          </a:prstGeom>
        </p:spPr>
      </p:pic>
      <p:sp>
        <p:nvSpPr>
          <p:cNvPr id="50" name="Rectangle 49"/>
          <p:cNvSpPr/>
          <p:nvPr userDrawn="1"/>
        </p:nvSpPr>
        <p:spPr bwMode="auto">
          <a:xfrm>
            <a:off x="3597844" y="3967466"/>
            <a:ext cx="2430185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Fin de détachement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entrant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46</a:t>
            </a:r>
          </a:p>
        </p:txBody>
      </p:sp>
      <p:cxnSp>
        <p:nvCxnSpPr>
          <p:cNvPr id="51" name="Straight Connector 52"/>
          <p:cNvCxnSpPr>
            <a:stCxn id="72" idx="3"/>
            <a:endCxn id="50" idx="1"/>
          </p:cNvCxnSpPr>
          <p:nvPr userDrawn="1"/>
        </p:nvCxnSpPr>
        <p:spPr bwMode="auto">
          <a:xfrm>
            <a:off x="2433746" y="3675354"/>
            <a:ext cx="1164098" cy="56211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8286" y="411162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8824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disponibilit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/>
          <p:cNvSpPr/>
          <p:nvPr userDrawn="1"/>
        </p:nvSpPr>
        <p:spPr bwMode="auto">
          <a:xfrm>
            <a:off x="7191780" y="1807015"/>
            <a:ext cx="1165894" cy="57985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09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disponibilité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28564" y="3142925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Disponibilité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919547" y="1825394"/>
            <a:ext cx="2880000" cy="45147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r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autorisation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/ d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roit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08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468564" y="2051133"/>
            <a:ext cx="450983" cy="145179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1" name="Rectangle 100"/>
          <p:cNvSpPr/>
          <p:nvPr userDrawn="1"/>
        </p:nvSpPr>
        <p:spPr bwMode="auto">
          <a:xfrm>
            <a:off x="2919547" y="2719948"/>
            <a:ext cx="2880000" cy="56503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’office pour raison de santé</a:t>
            </a:r>
          </a:p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17 (initial)</a:t>
            </a:r>
          </a:p>
        </p:txBody>
      </p:sp>
      <p:cxnSp>
        <p:nvCxnSpPr>
          <p:cNvPr id="102" name="Straight Connector 34"/>
          <p:cNvCxnSpPr>
            <a:stCxn id="72" idx="3"/>
            <a:endCxn id="101" idx="1"/>
          </p:cNvCxnSpPr>
          <p:nvPr userDrawn="1"/>
        </p:nvCxnSpPr>
        <p:spPr bwMode="auto">
          <a:xfrm flipV="1">
            <a:off x="2468564" y="3002466"/>
            <a:ext cx="450983" cy="500459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4" name="Straight Connector 68"/>
          <p:cNvCxnSpPr/>
          <p:nvPr userDrawn="1"/>
        </p:nvCxnSpPr>
        <p:spPr bwMode="auto">
          <a:xfrm>
            <a:off x="8386779" y="4010156"/>
            <a:ext cx="0" cy="78180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TextBox 29"/>
          <p:cNvSpPr txBox="1"/>
          <p:nvPr userDrawn="1"/>
        </p:nvSpPr>
        <p:spPr>
          <a:xfrm>
            <a:off x="5910253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6" name="TextBox 65"/>
          <p:cNvSpPr txBox="1"/>
          <p:nvPr userDrawn="1"/>
        </p:nvSpPr>
        <p:spPr>
          <a:xfrm>
            <a:off x="8484629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00" name="TextBox 69"/>
          <p:cNvSpPr txBox="1"/>
          <p:nvPr userDrawn="1"/>
        </p:nvSpPr>
        <p:spPr>
          <a:xfrm>
            <a:off x="7166247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38" name="Straight Connector 66"/>
          <p:cNvCxnSpPr/>
          <p:nvPr userDrawn="1"/>
        </p:nvCxnSpPr>
        <p:spPr bwMode="auto">
          <a:xfrm>
            <a:off x="7132316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68"/>
          <p:cNvCxnSpPr/>
          <p:nvPr userDrawn="1"/>
        </p:nvCxnSpPr>
        <p:spPr bwMode="auto">
          <a:xfrm>
            <a:off x="8388310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2923707" y="3588476"/>
            <a:ext cx="2880000" cy="52394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éintégration suite à disponibilité sur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autorisation / de droit</a:t>
            </a:r>
          </a:p>
          <a:p>
            <a:pPr lvl="0"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16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22" name="Connecteur droit 21"/>
          <p:cNvCxnSpPr>
            <a:stCxn id="72" idx="3"/>
            <a:endCxn id="78" idx="1"/>
          </p:cNvCxnSpPr>
          <p:nvPr userDrawn="1"/>
        </p:nvCxnSpPr>
        <p:spPr bwMode="auto">
          <a:xfrm>
            <a:off x="2468564" y="3502925"/>
            <a:ext cx="455143" cy="34752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2" name="Rectangle 91"/>
          <p:cNvSpPr/>
          <p:nvPr userDrawn="1"/>
        </p:nvSpPr>
        <p:spPr bwMode="auto">
          <a:xfrm>
            <a:off x="7463800" y="3588477"/>
            <a:ext cx="593025" cy="147604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1" name="Rectangle 50"/>
          <p:cNvSpPr/>
          <p:nvPr userDrawn="1"/>
        </p:nvSpPr>
        <p:spPr bwMode="auto">
          <a:xfrm>
            <a:off x="8589966" y="1638200"/>
            <a:ext cx="932466" cy="373844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 rot="16200000">
            <a:off x="-1404287" y="3228476"/>
            <a:ext cx="385751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2923707" y="4561151"/>
            <a:ext cx="2880000" cy="50336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éintégration suite à disponibilité d’office pour raison de santé</a:t>
            </a:r>
          </a:p>
          <a:p>
            <a:pPr lvl="0"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19</a:t>
            </a:r>
          </a:p>
        </p:txBody>
      </p:sp>
      <p:cxnSp>
        <p:nvCxnSpPr>
          <p:cNvPr id="87" name="Connecteur droit 86"/>
          <p:cNvCxnSpPr>
            <a:stCxn id="72" idx="3"/>
            <a:endCxn id="49" idx="1"/>
          </p:cNvCxnSpPr>
          <p:nvPr userDrawn="1"/>
        </p:nvCxnSpPr>
        <p:spPr bwMode="auto">
          <a:xfrm>
            <a:off x="2468564" y="3502925"/>
            <a:ext cx="455143" cy="130990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8" name="Image 87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8" name="Groupe 57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8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8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8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8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6" name="Groupe 85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1" name="Rectangle 90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3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" name="ZoneTexte 96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8" name="Image 9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99" name="Image 9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105" name="Image 10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9671" y="4653136"/>
            <a:ext cx="318039" cy="336260"/>
          </a:xfrm>
          <a:prstGeom prst="rect">
            <a:avLst/>
          </a:prstGeom>
        </p:spPr>
      </p:pic>
      <p:pic>
        <p:nvPicPr>
          <p:cNvPr id="106" name="Image 10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123" y="2845386"/>
            <a:ext cx="318039" cy="336260"/>
          </a:xfrm>
          <a:prstGeom prst="rect">
            <a:avLst/>
          </a:prstGeom>
        </p:spPr>
      </p:pic>
      <p:sp>
        <p:nvSpPr>
          <p:cNvPr id="55" name="Rectangle 54"/>
          <p:cNvSpPr/>
          <p:nvPr userDrawn="1"/>
        </p:nvSpPr>
        <p:spPr bwMode="auto">
          <a:xfrm>
            <a:off x="7172531" y="2705128"/>
            <a:ext cx="1165894" cy="57985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18</a:t>
            </a:r>
          </a:p>
        </p:txBody>
      </p:sp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1143" y="2901772"/>
            <a:ext cx="318039" cy="336260"/>
          </a:xfrm>
          <a:prstGeom prst="rect">
            <a:avLst/>
          </a:prstGeom>
        </p:spPr>
      </p:pic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5148" y="3681028"/>
            <a:ext cx="318039" cy="336260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1143" y="2038551"/>
            <a:ext cx="318039" cy="336260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4600" y="191828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1851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s sans trai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 userDrawn="1"/>
        </p:nvSpPr>
        <p:spPr bwMode="auto">
          <a:xfrm>
            <a:off x="7427301" y="2040587"/>
            <a:ext cx="1058489" cy="60814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12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sans</a:t>
            </a:r>
            <a:r>
              <a:rPr lang="fr-FR" sz="1800" kern="0" baseline="0" dirty="0"/>
              <a:t> traitement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04970" y="3065101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sans traitement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6213815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485790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36966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63939" y="1831402"/>
            <a:ext cx="793957" cy="3306008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575691" y="3064292"/>
            <a:ext cx="793957" cy="206833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401947" y="164704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85790" y="1615311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409040" y="2052557"/>
            <a:ext cx="288018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san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traitement art 19 D 94-874 stagiair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11 (initial)</a:t>
            </a: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 flipV="1">
            <a:off x="2544970" y="2412557"/>
            <a:ext cx="864070" cy="101254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409226" y="4128125"/>
            <a:ext cx="288018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sans traitement art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20 D 94-874 stagiair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10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544970" y="3425101"/>
            <a:ext cx="864256" cy="106302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Rectangle 46"/>
          <p:cNvSpPr/>
          <p:nvPr userDrawn="1"/>
        </p:nvSpPr>
        <p:spPr bwMode="auto">
          <a:xfrm>
            <a:off x="3409226" y="3065101"/>
            <a:ext cx="288018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sans traitement réintégration 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stagiair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13</a:t>
            </a:r>
          </a:p>
        </p:txBody>
      </p:sp>
      <p:cxnSp>
        <p:nvCxnSpPr>
          <p:cNvPr id="48" name="Straight Connector 34"/>
          <p:cNvCxnSpPr>
            <a:stCxn id="72" idx="3"/>
            <a:endCxn id="47" idx="1"/>
          </p:cNvCxnSpPr>
          <p:nvPr userDrawn="1"/>
        </p:nvCxnSpPr>
        <p:spPr bwMode="auto">
          <a:xfrm>
            <a:off x="2544970" y="3425101"/>
            <a:ext cx="864256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Rectangle 48"/>
          <p:cNvSpPr/>
          <p:nvPr userDrawn="1"/>
        </p:nvSpPr>
        <p:spPr bwMode="auto">
          <a:xfrm rot="16200000">
            <a:off x="-1214449" y="3023106"/>
            <a:ext cx="350860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pic>
        <p:nvPicPr>
          <p:cNvPr id="46" name="Image 45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2" name="Groupe 51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5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6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7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8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9" name="Groupe 68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1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0" name="Rectangle 79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1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2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ZoneTexte 82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4" name="Image 8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7525" y="2249066"/>
            <a:ext cx="318039" cy="336260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677" y="4288334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0666" y="3296914"/>
            <a:ext cx="318039" cy="33626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414" y="2244427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6529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Processus Rémuné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 userDrawn="1"/>
        </p:nvSpPr>
        <p:spPr bwMode="auto">
          <a:xfrm>
            <a:off x="8512468" y="3093220"/>
            <a:ext cx="1058489" cy="62381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baseline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TIND0005</a:t>
            </a:r>
            <a:endParaRPr lang="fr-FR" sz="1050" i="1" kern="0" baseline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313502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s éléments de rémunération</a:t>
            </a:r>
            <a:endParaRPr lang="fr-FR" sz="1600" kern="0" dirty="0"/>
          </a:p>
          <a:p>
            <a:pPr eaLnBrk="1" hangingPunct="1"/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283742" y="3093220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Rémunération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47418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396145" y="1896295"/>
            <a:ext cx="793957" cy="336890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169481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25475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805270" y="3093220"/>
            <a:ext cx="202257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Nouvelle bonificati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indiciaire (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NBI) titulair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, stagiair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IND0004 (début)</a:t>
            </a: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>
            <a:off x="2900772" y="3453220"/>
            <a:ext cx="904498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ectangle 35"/>
          <p:cNvSpPr/>
          <p:nvPr userDrawn="1"/>
        </p:nvSpPr>
        <p:spPr bwMode="auto">
          <a:xfrm rot="16200000">
            <a:off x="-1270811" y="3077244"/>
            <a:ext cx="362133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Indemnitaire</a:t>
            </a:r>
          </a:p>
        </p:txBody>
      </p:sp>
      <p:pic>
        <p:nvPicPr>
          <p:cNvPr id="39" name="Image 3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38" name="Groupe 37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5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46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7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4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1" name="Rectangle 50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2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53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ZoneTexte 53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762" y="3253291"/>
            <a:ext cx="318039" cy="33626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949" y="3298785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9024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éléments annexes de rémuné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6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313502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</a:t>
            </a:r>
            <a:r>
              <a:rPr lang="fr-FR" sz="1800" b="1" kern="0" dirty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rPr>
              <a:t>Gestion des éléments annexes de rémunération</a:t>
            </a:r>
          </a:p>
          <a:p>
            <a:pPr eaLnBrk="1" hangingPunct="1"/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6978" y="3105044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Rémunération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annexe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735949" y="1637102"/>
            <a:ext cx="793957" cy="362810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2149" y="1637102"/>
            <a:ext cx="793957" cy="362810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584310" y="3105044"/>
            <a:ext cx="202257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0127 – prime spéciale d’installation (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mvt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 22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IND0001</a:t>
            </a: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>
            <a:off x="2794008" y="3465044"/>
            <a:ext cx="790302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Rectangle 49"/>
          <p:cNvSpPr/>
          <p:nvPr userDrawn="1"/>
        </p:nvSpPr>
        <p:spPr bwMode="auto">
          <a:xfrm rot="16200000">
            <a:off x="-1279458" y="3085892"/>
            <a:ext cx="363862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Indemnitaire</a:t>
            </a:r>
          </a:p>
        </p:txBody>
      </p:sp>
      <p:pic>
        <p:nvPicPr>
          <p:cNvPr id="51" name="Image 50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2" name="Groupe 51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53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4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5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6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7" name="Groupe 56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58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9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0" name="Rectangle 59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1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2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ZoneTexte 62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4" name="Image 6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39" name="Image 3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522" y="329691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6940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clusion temporaire de fon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’exclusion temporaire de fonctions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211734" y="3106544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Exclusion temporaire de fonctions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6037518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03412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9945" y="1637102"/>
            <a:ext cx="793957" cy="362810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396145" y="1637102"/>
            <a:ext cx="793957" cy="362810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169481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25475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404828" y="1776828"/>
            <a:ext cx="27003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Exclusion temporaire de fonctions avec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ursis total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DIS0001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9" name="Straight Connector 34"/>
          <p:cNvCxnSpPr>
            <a:stCxn id="72" idx="3"/>
            <a:endCxn id="78" idx="1"/>
          </p:cNvCxnSpPr>
          <p:nvPr userDrawn="1"/>
        </p:nvCxnSpPr>
        <p:spPr bwMode="auto">
          <a:xfrm flipV="1">
            <a:off x="2828764" y="2136828"/>
            <a:ext cx="576064" cy="132971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404828" y="4462690"/>
            <a:ext cx="27003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Exclusion temporaire de fonctions (stagiaire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DIS0004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828764" y="3466544"/>
            <a:ext cx="576064" cy="135614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Rectangle 88"/>
          <p:cNvSpPr/>
          <p:nvPr userDrawn="1"/>
        </p:nvSpPr>
        <p:spPr bwMode="auto">
          <a:xfrm>
            <a:off x="3404828" y="3537092"/>
            <a:ext cx="27003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Exclusion temporaire de fonctions sans sursi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DIS0002</a:t>
            </a:r>
          </a:p>
        </p:txBody>
      </p:sp>
      <p:cxnSp>
        <p:nvCxnSpPr>
          <p:cNvPr id="6" name="Connecteur droit 5"/>
          <p:cNvCxnSpPr>
            <a:stCxn id="72" idx="3"/>
            <a:endCxn id="89" idx="1"/>
          </p:cNvCxnSpPr>
          <p:nvPr userDrawn="1"/>
        </p:nvCxnSpPr>
        <p:spPr bwMode="auto">
          <a:xfrm>
            <a:off x="2828764" y="3466544"/>
            <a:ext cx="576064" cy="43054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6" name="Rectangle 45"/>
          <p:cNvSpPr/>
          <p:nvPr userDrawn="1"/>
        </p:nvSpPr>
        <p:spPr bwMode="auto">
          <a:xfrm rot="16200000">
            <a:off x="-1282187" y="3077354"/>
            <a:ext cx="364408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Sanctions</a:t>
            </a:r>
          </a:p>
        </p:txBody>
      </p:sp>
      <p:pic>
        <p:nvPicPr>
          <p:cNvPr id="47" name="Image 46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8" name="Groupe 47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1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2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3" name="Groupe 52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66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7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8" name="Rectangle 67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sp>
        <p:nvSpPr>
          <p:cNvPr id="54" name="Rectangle 53"/>
          <p:cNvSpPr/>
          <p:nvPr userDrawn="1"/>
        </p:nvSpPr>
        <p:spPr bwMode="auto">
          <a:xfrm>
            <a:off x="3404828" y="2600988"/>
            <a:ext cx="27003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Exclusion temporaire de fonctions avec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ursis partiel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DIS0005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55" name="Connecteur droit 54"/>
          <p:cNvCxnSpPr>
            <a:stCxn id="72" idx="3"/>
            <a:endCxn id="54" idx="1"/>
          </p:cNvCxnSpPr>
          <p:nvPr userDrawn="1"/>
        </p:nvCxnSpPr>
        <p:spPr bwMode="auto">
          <a:xfrm flipV="1">
            <a:off x="2828764" y="2960988"/>
            <a:ext cx="576064" cy="50555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53669" y="469897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5686" y="1984770"/>
            <a:ext cx="318039" cy="336260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542" y="2787056"/>
            <a:ext cx="318039" cy="336260"/>
          </a:xfrm>
          <a:prstGeom prst="rect">
            <a:avLst/>
          </a:prstGeom>
        </p:spPr>
      </p:pic>
      <p:pic>
        <p:nvPicPr>
          <p:cNvPr id="61" name="Image 6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1217" y="378978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764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rée fpe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aphicFrame>
        <p:nvGraphicFramePr>
          <p:cNvPr id="4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9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’entrée dans la FPE (2/3)</a:t>
            </a:r>
          </a:p>
        </p:txBody>
      </p:sp>
      <p:sp>
        <p:nvSpPr>
          <p:cNvPr id="42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7" name="TextBox 29"/>
          <p:cNvSpPr txBox="1"/>
          <p:nvPr userDrawn="1"/>
        </p:nvSpPr>
        <p:spPr>
          <a:xfrm>
            <a:off x="5025008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8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6105128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8699945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1" name="Straight Connector 66"/>
          <p:cNvCxnSpPr/>
          <p:nvPr userDrawn="1"/>
        </p:nvCxnSpPr>
        <p:spPr bwMode="auto">
          <a:xfrm>
            <a:off x="6105128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68"/>
          <p:cNvCxnSpPr/>
          <p:nvPr userDrawn="1"/>
        </p:nvCxnSpPr>
        <p:spPr bwMode="auto">
          <a:xfrm>
            <a:off x="8589404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5" name="Rectangle 74"/>
          <p:cNvSpPr/>
          <p:nvPr userDrawn="1"/>
        </p:nvSpPr>
        <p:spPr bwMode="auto">
          <a:xfrm>
            <a:off x="2877781" y="2564984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suite à détachement 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entrant_corps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10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45" name="Image 4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grpSp>
        <p:nvGrpSpPr>
          <p:cNvPr id="47" name="Groupe 46"/>
          <p:cNvGrpSpPr/>
          <p:nvPr userDrawn="1"/>
        </p:nvGrpSpPr>
        <p:grpSpPr>
          <a:xfrm>
            <a:off x="6283443" y="6201308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0" name="Groupe 49"/>
          <p:cNvGrpSpPr/>
          <p:nvPr userDrawn="1"/>
        </p:nvGrpSpPr>
        <p:grpSpPr>
          <a:xfrm>
            <a:off x="6398409" y="6459143"/>
            <a:ext cx="2538714" cy="246221"/>
            <a:chOff x="6108241" y="6533126"/>
            <a:chExt cx="2538714" cy="316030"/>
          </a:xfrm>
        </p:grpSpPr>
        <p:pic>
          <p:nvPicPr>
            <p:cNvPr id="5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2" name="TextBox 60"/>
            <p:cNvSpPr txBox="1"/>
            <p:nvPr/>
          </p:nvSpPr>
          <p:spPr>
            <a:xfrm>
              <a:off x="6507928" y="653312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5" name="Rectangle 54"/>
          <p:cNvSpPr/>
          <p:nvPr userDrawn="1"/>
        </p:nvSpPr>
        <p:spPr bwMode="auto">
          <a:xfrm>
            <a:off x="6263824" y="5349831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Rectangle 57"/>
          <p:cNvSpPr/>
          <p:nvPr userDrawn="1"/>
        </p:nvSpPr>
        <p:spPr bwMode="auto">
          <a:xfrm rot="16200000">
            <a:off x="-1313493" y="3077324"/>
            <a:ext cx="36441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59" name="Image 5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6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6807886" y="59852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pic>
        <p:nvPicPr>
          <p:cNvPr id="6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ZoneTexte 66"/>
          <p:cNvSpPr txBox="1"/>
          <p:nvPr userDrawn="1"/>
        </p:nvSpPr>
        <p:spPr>
          <a:xfrm>
            <a:off x="6780171" y="5528555"/>
            <a:ext cx="2042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sp>
        <p:nvSpPr>
          <p:cNvPr id="56" name="TextBox 64"/>
          <p:cNvSpPr txBox="1"/>
          <p:nvPr userDrawn="1"/>
        </p:nvSpPr>
        <p:spPr>
          <a:xfrm>
            <a:off x="6156461" y="5190213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sp>
        <p:nvSpPr>
          <p:cNvPr id="46" name="TextBox 54"/>
          <p:cNvSpPr txBox="1"/>
          <p:nvPr userDrawn="1"/>
        </p:nvSpPr>
        <p:spPr>
          <a:xfrm>
            <a:off x="6283443" y="6275621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sp>
        <p:nvSpPr>
          <p:cNvPr id="39" name="Rectangle 38"/>
          <p:cNvSpPr/>
          <p:nvPr userDrawn="1"/>
        </p:nvSpPr>
        <p:spPr bwMode="auto">
          <a:xfrm>
            <a:off x="2864768" y="3501008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suite à détachement 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entrant_sortant_EF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07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2864768" y="1700808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suite à détachement 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entrant_sortant_corps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09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4" name="Rectangle 53"/>
          <p:cNvSpPr/>
          <p:nvPr userDrawn="1"/>
        </p:nvSpPr>
        <p:spPr bwMode="auto">
          <a:xfrm>
            <a:off x="2864768" y="4473196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suite à détachement </a:t>
            </a: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entrant_EF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31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7343" y="1892678"/>
            <a:ext cx="318039" cy="336260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0054" y="2756854"/>
            <a:ext cx="318039" cy="336260"/>
          </a:xfrm>
          <a:prstGeom prst="rect">
            <a:avLst/>
          </a:prstGeom>
        </p:spPr>
      </p:pic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405" y="4589044"/>
            <a:ext cx="318039" cy="336260"/>
          </a:xfrm>
          <a:prstGeom prst="rect">
            <a:avLst/>
          </a:prstGeom>
        </p:spPr>
      </p:pic>
      <p:sp>
        <p:nvSpPr>
          <p:cNvPr id="60" name="Rectangle 59"/>
          <p:cNvSpPr/>
          <p:nvPr userDrawn="1"/>
        </p:nvSpPr>
        <p:spPr bwMode="auto">
          <a:xfrm>
            <a:off x="6172693" y="1705745"/>
            <a:ext cx="1103946" cy="349521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ccueil en détachement renouvellement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07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61" name="Straight Connector 68"/>
          <p:cNvCxnSpPr/>
          <p:nvPr userDrawn="1"/>
        </p:nvCxnSpPr>
        <p:spPr bwMode="auto">
          <a:xfrm>
            <a:off x="7329264" y="1615251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2" name="TextBox 69"/>
          <p:cNvSpPr txBox="1"/>
          <p:nvPr userDrawn="1"/>
        </p:nvSpPr>
        <p:spPr>
          <a:xfrm>
            <a:off x="7436297" y="1294953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Intégration</a:t>
            </a:r>
          </a:p>
        </p:txBody>
      </p:sp>
      <p:sp>
        <p:nvSpPr>
          <p:cNvPr id="69" name="Rectangle 68"/>
          <p:cNvSpPr/>
          <p:nvPr userDrawn="1"/>
        </p:nvSpPr>
        <p:spPr bwMode="auto">
          <a:xfrm>
            <a:off x="7365268" y="1700316"/>
            <a:ext cx="1188132" cy="349521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égrati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a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cueil suite détachement entrant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15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179" y="4103870"/>
            <a:ext cx="318039" cy="336260"/>
          </a:xfrm>
          <a:prstGeom prst="rect">
            <a:avLst/>
          </a:prstGeom>
        </p:spPr>
      </p:pic>
      <p:pic>
        <p:nvPicPr>
          <p:cNvPr id="76" name="Image 7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5754" y="4115838"/>
            <a:ext cx="318039" cy="336260"/>
          </a:xfrm>
          <a:prstGeom prst="rect">
            <a:avLst/>
          </a:prstGeom>
        </p:spPr>
      </p:pic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7056" y="3689987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8733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Masque radiation des cadres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essations hors retraite (1/3)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28564" y="3096130"/>
            <a:ext cx="1260140" cy="76491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Radiation des cadres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2623103" y="3319173"/>
            <a:ext cx="3818876" cy="3160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bandon de post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10</a:t>
            </a:r>
          </a:p>
        </p:txBody>
      </p:sp>
      <p:cxnSp>
        <p:nvCxnSpPr>
          <p:cNvPr id="80" name="Straight Connector 34"/>
          <p:cNvCxnSpPr>
            <a:stCxn id="72" idx="3"/>
            <a:endCxn id="79" idx="1"/>
          </p:cNvCxnSpPr>
          <p:nvPr userDrawn="1"/>
        </p:nvCxnSpPr>
        <p:spPr bwMode="auto">
          <a:xfrm flipV="1">
            <a:off x="2288704" y="3477199"/>
            <a:ext cx="334399" cy="139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Rectangle 84"/>
          <p:cNvSpPr/>
          <p:nvPr userDrawn="1"/>
        </p:nvSpPr>
        <p:spPr bwMode="auto">
          <a:xfrm>
            <a:off x="8767555" y="1657941"/>
            <a:ext cx="793957" cy="321416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3" name="Straight Connector 52"/>
          <p:cNvCxnSpPr>
            <a:stCxn id="72" idx="3"/>
            <a:endCxn id="105" idx="1"/>
          </p:cNvCxnSpPr>
          <p:nvPr userDrawn="1"/>
        </p:nvCxnSpPr>
        <p:spPr bwMode="auto">
          <a:xfrm>
            <a:off x="2288704" y="3478589"/>
            <a:ext cx="333689" cy="64645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5" name="Rectangle 104"/>
          <p:cNvSpPr/>
          <p:nvPr userDrawn="1"/>
        </p:nvSpPr>
        <p:spPr bwMode="auto">
          <a:xfrm>
            <a:off x="2622393" y="3934523"/>
            <a:ext cx="3819587" cy="38103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cè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2</a:t>
            </a:r>
          </a:p>
        </p:txBody>
      </p:sp>
      <p:sp>
        <p:nvSpPr>
          <p:cNvPr id="107" name="Rectangle 106"/>
          <p:cNvSpPr/>
          <p:nvPr userDrawn="1"/>
        </p:nvSpPr>
        <p:spPr bwMode="auto">
          <a:xfrm>
            <a:off x="7512927" y="1670027"/>
            <a:ext cx="793957" cy="314638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TextBox 29"/>
          <p:cNvSpPr txBox="1"/>
          <p:nvPr userDrawn="1"/>
        </p:nvSpPr>
        <p:spPr>
          <a:xfrm>
            <a:off x="6292530" y="1057673"/>
            <a:ext cx="9995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9" name="TextBox 65"/>
          <p:cNvSpPr txBox="1"/>
          <p:nvPr userDrawn="1"/>
        </p:nvSpPr>
        <p:spPr>
          <a:xfrm>
            <a:off x="8542165" y="1048670"/>
            <a:ext cx="9718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14" name="TextBox 69"/>
          <p:cNvSpPr txBox="1"/>
          <p:nvPr userDrawn="1"/>
        </p:nvSpPr>
        <p:spPr>
          <a:xfrm>
            <a:off x="7354033" y="113461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51" name="Straight Connector 66"/>
          <p:cNvCxnSpPr/>
          <p:nvPr userDrawn="1"/>
        </p:nvCxnSpPr>
        <p:spPr bwMode="auto">
          <a:xfrm>
            <a:off x="7248460" y="1600627"/>
            <a:ext cx="0" cy="337654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68"/>
          <p:cNvCxnSpPr/>
          <p:nvPr userDrawn="1"/>
        </p:nvCxnSpPr>
        <p:spPr bwMode="auto">
          <a:xfrm>
            <a:off x="8453424" y="1600627"/>
            <a:ext cx="0" cy="341594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0564" y="5183258"/>
            <a:ext cx="362413" cy="362413"/>
          </a:xfrm>
          <a:prstGeom prst="rect">
            <a:avLst/>
          </a:prstGeom>
        </p:spPr>
      </p:pic>
      <p:sp>
        <p:nvSpPr>
          <p:cNvPr id="76" name="Rectangle 75"/>
          <p:cNvSpPr/>
          <p:nvPr userDrawn="1"/>
        </p:nvSpPr>
        <p:spPr bwMode="auto">
          <a:xfrm rot="16200000">
            <a:off x="-1461069" y="3272352"/>
            <a:ext cx="400184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sp>
        <p:nvSpPr>
          <p:cNvPr id="84" name="Rectangle 83"/>
          <p:cNvSpPr/>
          <p:nvPr userDrawn="1"/>
        </p:nvSpPr>
        <p:spPr bwMode="auto">
          <a:xfrm>
            <a:off x="2622393" y="2590466"/>
            <a:ext cx="3818876" cy="33419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 anticipée d’activité – amiant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27</a:t>
            </a:r>
          </a:p>
        </p:txBody>
      </p:sp>
      <p:cxnSp>
        <p:nvCxnSpPr>
          <p:cNvPr id="86" name="Straight Connector 34"/>
          <p:cNvCxnSpPr>
            <a:stCxn id="72" idx="3"/>
            <a:endCxn id="84" idx="1"/>
          </p:cNvCxnSpPr>
          <p:nvPr userDrawn="1"/>
        </p:nvCxnSpPr>
        <p:spPr bwMode="auto">
          <a:xfrm flipV="1">
            <a:off x="2288704" y="2757562"/>
            <a:ext cx="333689" cy="72102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8" name="Image 87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89" name="Groupe 88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9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9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9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9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94" name="Groupe 9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9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7" name="Rectangle 9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0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10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" name="ZoneTexte 101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04" name="Image 10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106" name="Image 10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4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80512" y="262976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414" y="3980839"/>
            <a:ext cx="318039" cy="336260"/>
          </a:xfrm>
          <a:prstGeom prst="rect">
            <a:avLst/>
          </a:prstGeom>
        </p:spPr>
      </p:pic>
      <p:pic>
        <p:nvPicPr>
          <p:cNvPr id="49" name="Image 4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6431" y="329609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3616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Masque radiation des cadres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7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essations hors retraite (2/3)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28564" y="2924944"/>
            <a:ext cx="1260140" cy="76491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Radiation des cadres</a:t>
            </a:r>
          </a:p>
        </p:txBody>
      </p:sp>
      <p:sp>
        <p:nvSpPr>
          <p:cNvPr id="85" name="Rectangle 84"/>
          <p:cNvSpPr/>
          <p:nvPr userDrawn="1"/>
        </p:nvSpPr>
        <p:spPr bwMode="auto">
          <a:xfrm>
            <a:off x="8767555" y="1478083"/>
            <a:ext cx="793957" cy="361543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7" name="Rectangle 106"/>
          <p:cNvSpPr/>
          <p:nvPr userDrawn="1"/>
        </p:nvSpPr>
        <p:spPr bwMode="auto">
          <a:xfrm>
            <a:off x="7512927" y="1526798"/>
            <a:ext cx="793957" cy="353421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TextBox 29"/>
          <p:cNvSpPr txBox="1"/>
          <p:nvPr userDrawn="1"/>
        </p:nvSpPr>
        <p:spPr>
          <a:xfrm>
            <a:off x="6292530" y="1057673"/>
            <a:ext cx="9995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9" name="TextBox 65"/>
          <p:cNvSpPr txBox="1"/>
          <p:nvPr userDrawn="1"/>
        </p:nvSpPr>
        <p:spPr>
          <a:xfrm>
            <a:off x="8542165" y="980728"/>
            <a:ext cx="9718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14" name="TextBox 69"/>
          <p:cNvSpPr txBox="1"/>
          <p:nvPr userDrawn="1"/>
        </p:nvSpPr>
        <p:spPr>
          <a:xfrm>
            <a:off x="7354033" y="113461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51" name="Straight Connector 66"/>
          <p:cNvCxnSpPr/>
          <p:nvPr userDrawn="1"/>
        </p:nvCxnSpPr>
        <p:spPr bwMode="auto">
          <a:xfrm>
            <a:off x="7248460" y="1600627"/>
            <a:ext cx="0" cy="341254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68"/>
          <p:cNvCxnSpPr/>
          <p:nvPr userDrawn="1"/>
        </p:nvCxnSpPr>
        <p:spPr bwMode="auto">
          <a:xfrm>
            <a:off x="8453424" y="1513478"/>
            <a:ext cx="0" cy="354753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2" name="Straight Connector 23"/>
          <p:cNvCxnSpPr>
            <a:stCxn id="166" idx="3"/>
            <a:endCxn id="163" idx="1"/>
          </p:cNvCxnSpPr>
          <p:nvPr userDrawn="1"/>
        </p:nvCxnSpPr>
        <p:spPr bwMode="auto">
          <a:xfrm>
            <a:off x="3659970" y="3259697"/>
            <a:ext cx="268198" cy="12733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3" name="Rectangle 162"/>
          <p:cNvSpPr/>
          <p:nvPr userDrawn="1"/>
        </p:nvSpPr>
        <p:spPr bwMode="auto">
          <a:xfrm>
            <a:off x="3928168" y="4252197"/>
            <a:ext cx="2523855" cy="5616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i="1" kern="0" dirty="0">
                <a:solidFill>
                  <a:srgbClr val="004272"/>
                </a:solidFill>
                <a:latin typeface="Arial (Corps)"/>
                <a:cs typeface="ＭＳ Ｐゴシック"/>
              </a:rPr>
              <a:t>Sans </a:t>
            </a:r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indemnité</a:t>
            </a:r>
            <a:r>
              <a:rPr lang="fr-FR" sz="110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 de départ volontair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INTCES0001</a:t>
            </a:r>
          </a:p>
        </p:txBody>
      </p:sp>
      <p:sp>
        <p:nvSpPr>
          <p:cNvPr id="164" name="Rectangle 163"/>
          <p:cNvSpPr/>
          <p:nvPr userDrawn="1"/>
        </p:nvSpPr>
        <p:spPr bwMode="auto">
          <a:xfrm>
            <a:off x="3934265" y="2978897"/>
            <a:ext cx="1145737" cy="56159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 (Corps)"/>
                <a:cs typeface="ＭＳ Ｐゴシック"/>
              </a:rPr>
              <a:t>Avec indemnité de départ</a:t>
            </a:r>
            <a:r>
              <a:rPr lang="fr-FR" sz="1050" i="1" kern="0" baseline="0" dirty="0">
                <a:solidFill>
                  <a:srgbClr val="004272"/>
                </a:solidFill>
                <a:latin typeface="Arial (Corps)"/>
                <a:cs typeface="ＭＳ Ｐゴシック"/>
              </a:rPr>
              <a:t> volontaire</a:t>
            </a:r>
            <a:endParaRPr lang="fr-FR" sz="1050" i="1" kern="0" dirty="0">
              <a:solidFill>
                <a:srgbClr val="004272"/>
              </a:solidFill>
              <a:latin typeface="Arial (Corps)"/>
              <a:cs typeface="ＭＳ Ｐゴシック"/>
            </a:endParaRPr>
          </a:p>
        </p:txBody>
      </p:sp>
      <p:cxnSp>
        <p:nvCxnSpPr>
          <p:cNvPr id="165" name="Straight Connector 40"/>
          <p:cNvCxnSpPr>
            <a:stCxn id="166" idx="3"/>
            <a:endCxn id="164" idx="1"/>
          </p:cNvCxnSpPr>
          <p:nvPr userDrawn="1"/>
        </p:nvCxnSpPr>
        <p:spPr bwMode="auto">
          <a:xfrm>
            <a:off x="3659970" y="3259697"/>
            <a:ext cx="274295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6" name="Rectangle 165"/>
          <p:cNvSpPr/>
          <p:nvPr userDrawn="1"/>
        </p:nvSpPr>
        <p:spPr bwMode="auto">
          <a:xfrm>
            <a:off x="2623103" y="2978897"/>
            <a:ext cx="1036867" cy="5616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mission</a:t>
            </a:r>
          </a:p>
        </p:txBody>
      </p:sp>
      <p:sp>
        <p:nvSpPr>
          <p:cNvPr id="167" name="Rectangle 166"/>
          <p:cNvSpPr/>
          <p:nvPr userDrawn="1"/>
        </p:nvSpPr>
        <p:spPr bwMode="auto">
          <a:xfrm>
            <a:off x="5312438" y="3452015"/>
            <a:ext cx="1129542" cy="5616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 (Corps)"/>
                <a:cs typeface="ＭＳ Ｐゴシック"/>
              </a:rPr>
              <a:t>Suite</a:t>
            </a:r>
            <a:r>
              <a:rPr lang="fr-FR" sz="1050" i="1" kern="0" baseline="0" dirty="0">
                <a:solidFill>
                  <a:srgbClr val="004272"/>
                </a:solidFill>
                <a:latin typeface="Arial (Corps)"/>
                <a:cs typeface="ＭＳ Ｐゴシック"/>
              </a:rPr>
              <a:t> rupture conventionnelle</a:t>
            </a:r>
            <a:endParaRPr lang="fr-FR" sz="1050" i="1" kern="0" dirty="0">
              <a:solidFill>
                <a:srgbClr val="004272"/>
              </a:solidFill>
              <a:latin typeface="Arial (Corps)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 (Corps)"/>
                <a:cs typeface="ＭＳ Ｐゴシック"/>
              </a:rPr>
              <a:t>INTCES0020</a:t>
            </a:r>
          </a:p>
        </p:txBody>
      </p:sp>
      <p:sp>
        <p:nvSpPr>
          <p:cNvPr id="168" name="Rectangle 167"/>
          <p:cNvSpPr/>
          <p:nvPr userDrawn="1"/>
        </p:nvSpPr>
        <p:spPr bwMode="auto">
          <a:xfrm>
            <a:off x="5312438" y="2514717"/>
            <a:ext cx="1129542" cy="5616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 (Corps)"/>
                <a:cs typeface="ＭＳ Ｐゴシック"/>
              </a:rPr>
              <a:t>Pour</a:t>
            </a:r>
            <a:r>
              <a:rPr lang="fr-FR" sz="1050" i="1" kern="0" baseline="0" dirty="0">
                <a:solidFill>
                  <a:srgbClr val="004272"/>
                </a:solidFill>
                <a:latin typeface="Arial (Corps)"/>
                <a:cs typeface="ＭＳ Ｐゴシック"/>
              </a:rPr>
              <a:t> réorganisation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 (Corps)"/>
                <a:cs typeface="ＭＳ Ｐゴシック"/>
              </a:rPr>
              <a:t>INTCES0017</a:t>
            </a:r>
            <a:endParaRPr lang="fr-FR" sz="1050" i="1" kern="0" dirty="0">
              <a:solidFill>
                <a:srgbClr val="004272"/>
              </a:solidFill>
              <a:latin typeface="Arial (Corps)"/>
              <a:cs typeface="ＭＳ Ｐゴシック"/>
            </a:endParaRPr>
          </a:p>
        </p:txBody>
      </p:sp>
      <p:cxnSp>
        <p:nvCxnSpPr>
          <p:cNvPr id="169" name="Connecteur droit 168"/>
          <p:cNvCxnSpPr>
            <a:stCxn id="164" idx="3"/>
            <a:endCxn id="168" idx="1"/>
          </p:cNvCxnSpPr>
          <p:nvPr userDrawn="1"/>
        </p:nvCxnSpPr>
        <p:spPr bwMode="auto">
          <a:xfrm flipV="1">
            <a:off x="5080002" y="2795517"/>
            <a:ext cx="232436" cy="4641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0" name="Connecteur droit 169"/>
          <p:cNvCxnSpPr>
            <a:stCxn id="164" idx="3"/>
            <a:endCxn id="167" idx="1"/>
          </p:cNvCxnSpPr>
          <p:nvPr userDrawn="1"/>
        </p:nvCxnSpPr>
        <p:spPr bwMode="auto">
          <a:xfrm>
            <a:off x="5080002" y="3259697"/>
            <a:ext cx="232436" cy="47311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4" name="Connecteur droit 193"/>
          <p:cNvCxnSpPr>
            <a:endCxn id="166" idx="1"/>
          </p:cNvCxnSpPr>
          <p:nvPr userDrawn="1"/>
        </p:nvCxnSpPr>
        <p:spPr bwMode="auto">
          <a:xfrm flipV="1">
            <a:off x="2271122" y="3259697"/>
            <a:ext cx="351981" cy="446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77" name="Image 7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0564" y="5183258"/>
            <a:ext cx="362413" cy="362413"/>
          </a:xfrm>
          <a:prstGeom prst="rect">
            <a:avLst/>
          </a:prstGeom>
        </p:spPr>
      </p:pic>
      <p:sp>
        <p:nvSpPr>
          <p:cNvPr id="76" name="Rectangle 75"/>
          <p:cNvSpPr/>
          <p:nvPr userDrawn="1"/>
        </p:nvSpPr>
        <p:spPr bwMode="auto">
          <a:xfrm rot="16200000">
            <a:off x="-1461069" y="3272352"/>
            <a:ext cx="400184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sp>
        <p:nvSpPr>
          <p:cNvPr id="58" name="Rectangle 57"/>
          <p:cNvSpPr/>
          <p:nvPr userDrawn="1"/>
        </p:nvSpPr>
        <p:spPr bwMode="auto">
          <a:xfrm>
            <a:off x="3921782" y="1727414"/>
            <a:ext cx="2523855" cy="5616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Démission</a:t>
            </a:r>
            <a:r>
              <a:rPr lang="fr-FR" sz="1050" i="1" kern="0" baseline="0" dirty="0">
                <a:solidFill>
                  <a:srgbClr val="004272"/>
                </a:solidFill>
                <a:latin typeface="Arial (Corps)"/>
                <a:ea typeface="ＭＳ Ｐゴシック" pitchFamily="34" charset="-128"/>
                <a:cs typeface="ＭＳ Ｐゴシック"/>
              </a:rPr>
              <a:t> pendant la période d’essai (titulaire, stagiaire)</a:t>
            </a:r>
            <a:endParaRPr lang="fr-FR" sz="1050" i="1" kern="0" dirty="0">
              <a:solidFill>
                <a:srgbClr val="004272"/>
              </a:solidFill>
              <a:latin typeface="Arial (Corps)"/>
              <a:ea typeface="ＭＳ Ｐゴシック" pitchFamily="34" charset="-128"/>
              <a:cs typeface="ＭＳ Ｐゴシック"/>
            </a:endParaRPr>
          </a:p>
        </p:txBody>
      </p:sp>
      <p:pic>
        <p:nvPicPr>
          <p:cNvPr id="59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744414" y="1952836"/>
            <a:ext cx="201612" cy="1308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3" name="Straight Connector 40"/>
          <p:cNvCxnSpPr>
            <a:stCxn id="166" idx="3"/>
            <a:endCxn id="58" idx="1"/>
          </p:cNvCxnSpPr>
          <p:nvPr userDrawn="1"/>
        </p:nvCxnSpPr>
        <p:spPr bwMode="auto">
          <a:xfrm flipV="1">
            <a:off x="3659970" y="2008214"/>
            <a:ext cx="261812" cy="1251483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8" name="Image 87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89" name="Groupe 88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9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91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92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93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94" name="Groupe 93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9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7" name="Rectangle 96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0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10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" name="ZoneTexte 101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04" name="Image 10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106" name="Image 10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033" y="2627387"/>
            <a:ext cx="318039" cy="336260"/>
          </a:xfrm>
          <a:prstGeom prst="rect">
            <a:avLst/>
          </a:prstGeom>
        </p:spPr>
      </p:pic>
      <p:pic>
        <p:nvPicPr>
          <p:cNvPr id="52" name="Image 5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895" y="4374795"/>
            <a:ext cx="318039" cy="336260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1433" y="3570966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4258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asque radiation des cadres 3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essations hors retraite (3/3)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85" name="Rectangle 84"/>
          <p:cNvSpPr/>
          <p:nvPr userDrawn="1"/>
        </p:nvSpPr>
        <p:spPr bwMode="auto">
          <a:xfrm>
            <a:off x="8731551" y="1593381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7" name="Rectangle 106"/>
          <p:cNvSpPr/>
          <p:nvPr userDrawn="1"/>
        </p:nvSpPr>
        <p:spPr bwMode="auto">
          <a:xfrm>
            <a:off x="7522853" y="1611506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TextBox 29"/>
          <p:cNvSpPr txBox="1"/>
          <p:nvPr userDrawn="1"/>
        </p:nvSpPr>
        <p:spPr>
          <a:xfrm>
            <a:off x="6294195" y="1068706"/>
            <a:ext cx="10971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9" name="TextBox 65"/>
          <p:cNvSpPr txBox="1"/>
          <p:nvPr userDrawn="1"/>
        </p:nvSpPr>
        <p:spPr>
          <a:xfrm>
            <a:off x="8481392" y="1055847"/>
            <a:ext cx="1276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14" name="TextBox 69"/>
          <p:cNvSpPr txBox="1"/>
          <p:nvPr userDrawn="1"/>
        </p:nvSpPr>
        <p:spPr>
          <a:xfrm>
            <a:off x="7398091" y="105584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51" name="Straight Connector 66"/>
          <p:cNvCxnSpPr/>
          <p:nvPr userDrawn="1"/>
        </p:nvCxnSpPr>
        <p:spPr bwMode="auto">
          <a:xfrm>
            <a:off x="7249219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68"/>
          <p:cNvCxnSpPr/>
          <p:nvPr userDrawn="1"/>
        </p:nvCxnSpPr>
        <p:spPr bwMode="auto">
          <a:xfrm>
            <a:off x="8544688" y="1561629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15" name="Rectangle 114"/>
          <p:cNvSpPr/>
          <p:nvPr userDrawn="1"/>
        </p:nvSpPr>
        <p:spPr bwMode="auto">
          <a:xfrm>
            <a:off x="1316596" y="3500541"/>
            <a:ext cx="126014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Radiation des cadres</a:t>
            </a:r>
          </a:p>
        </p:txBody>
      </p:sp>
      <p:cxnSp>
        <p:nvCxnSpPr>
          <p:cNvPr id="117" name="Straight Connector 52"/>
          <p:cNvCxnSpPr>
            <a:stCxn id="115" idx="3"/>
            <a:endCxn id="118" idx="1"/>
          </p:cNvCxnSpPr>
          <p:nvPr userDrawn="1"/>
        </p:nvCxnSpPr>
        <p:spPr bwMode="auto">
          <a:xfrm flipV="1">
            <a:off x="2576736" y="2852904"/>
            <a:ext cx="504056" cy="100763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8" name="Rectangle 117"/>
          <p:cNvSpPr/>
          <p:nvPr userDrawn="1"/>
        </p:nvSpPr>
        <p:spPr bwMode="auto">
          <a:xfrm>
            <a:off x="3080792" y="2564904"/>
            <a:ext cx="1171012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Licenciement</a:t>
            </a:r>
          </a:p>
        </p:txBody>
      </p:sp>
      <p:sp>
        <p:nvSpPr>
          <p:cNvPr id="124" name="Rectangle 123"/>
          <p:cNvSpPr/>
          <p:nvPr userDrawn="1"/>
        </p:nvSpPr>
        <p:spPr bwMode="auto">
          <a:xfrm>
            <a:off x="4861566" y="3284542"/>
            <a:ext cx="1459586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suffisance professionnelle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5</a:t>
            </a:r>
          </a:p>
        </p:txBody>
      </p:sp>
      <p:sp>
        <p:nvSpPr>
          <p:cNvPr id="125" name="Rectangle 124"/>
          <p:cNvSpPr/>
          <p:nvPr userDrawn="1"/>
        </p:nvSpPr>
        <p:spPr bwMode="auto">
          <a:xfrm>
            <a:off x="4872955" y="1963372"/>
            <a:ext cx="1421239" cy="70954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suffisance professionnell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(stagiaire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6</a:t>
            </a:r>
          </a:p>
        </p:txBody>
      </p:sp>
      <p:cxnSp>
        <p:nvCxnSpPr>
          <p:cNvPr id="127" name="Connecteur droit 126"/>
          <p:cNvCxnSpPr>
            <a:stCxn id="118" idx="3"/>
            <a:endCxn id="125" idx="1"/>
          </p:cNvCxnSpPr>
          <p:nvPr userDrawn="1"/>
        </p:nvCxnSpPr>
        <p:spPr bwMode="auto">
          <a:xfrm flipV="1">
            <a:off x="4251804" y="2318144"/>
            <a:ext cx="621151" cy="53476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Connecteur droit 127"/>
          <p:cNvCxnSpPr>
            <a:stCxn id="118" idx="3"/>
            <a:endCxn id="124" idx="1"/>
          </p:cNvCxnSpPr>
          <p:nvPr userDrawn="1"/>
        </p:nvCxnSpPr>
        <p:spPr bwMode="auto">
          <a:xfrm>
            <a:off x="4251804" y="2852904"/>
            <a:ext cx="609762" cy="7196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0" name="Rectangle 129"/>
          <p:cNvSpPr/>
          <p:nvPr userDrawn="1"/>
        </p:nvSpPr>
        <p:spPr bwMode="auto">
          <a:xfrm>
            <a:off x="3080792" y="4580179"/>
            <a:ext cx="3052164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évoca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22</a:t>
            </a:r>
          </a:p>
        </p:txBody>
      </p:sp>
      <p:cxnSp>
        <p:nvCxnSpPr>
          <p:cNvPr id="129" name="Connecteur droit 128"/>
          <p:cNvCxnSpPr>
            <a:stCxn id="115" idx="3"/>
            <a:endCxn id="130" idx="1"/>
          </p:cNvCxnSpPr>
          <p:nvPr userDrawn="1"/>
        </p:nvCxnSpPr>
        <p:spPr bwMode="auto">
          <a:xfrm>
            <a:off x="2576736" y="3860541"/>
            <a:ext cx="504056" cy="10076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Rectangle 46"/>
          <p:cNvSpPr/>
          <p:nvPr userDrawn="1"/>
        </p:nvSpPr>
        <p:spPr bwMode="auto">
          <a:xfrm rot="16200000">
            <a:off x="-1270811" y="3077244"/>
            <a:ext cx="362133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pic>
        <p:nvPicPr>
          <p:cNvPr id="45" name="Image 44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46" name="Groupe 45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50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1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2" name="Groupe 51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5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5" name="Rectangle 54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8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" name="ZoneTexte 71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3" name="Image 7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5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696375" y="471627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1" y="3404412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4745" y="2080051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4510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Masque départ retrait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155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départs à la retraite (1/2) </a:t>
            </a:r>
          </a:p>
        </p:txBody>
      </p:sp>
      <p:sp>
        <p:nvSpPr>
          <p:cNvPr id="156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57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58" name="Rectangle 157"/>
          <p:cNvSpPr/>
          <p:nvPr userDrawn="1"/>
        </p:nvSpPr>
        <p:spPr bwMode="auto">
          <a:xfrm>
            <a:off x="1081095" y="3429080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Départ à la retraite</a:t>
            </a:r>
          </a:p>
        </p:txBody>
      </p:sp>
      <p:cxnSp>
        <p:nvCxnSpPr>
          <p:cNvPr id="160" name="Straight Connector 52"/>
          <p:cNvCxnSpPr>
            <a:stCxn id="158" idx="3"/>
            <a:endCxn id="182" idx="1"/>
          </p:cNvCxnSpPr>
          <p:nvPr userDrawn="1"/>
        </p:nvCxnSpPr>
        <p:spPr bwMode="auto">
          <a:xfrm>
            <a:off x="2521095" y="3789080"/>
            <a:ext cx="362726" cy="72008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1" name="Rectangle 160"/>
          <p:cNvSpPr/>
          <p:nvPr userDrawn="1"/>
        </p:nvSpPr>
        <p:spPr bwMode="auto">
          <a:xfrm>
            <a:off x="2883820" y="2745004"/>
            <a:ext cx="328276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Limite d’âg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4</a:t>
            </a:r>
          </a:p>
        </p:txBody>
      </p:sp>
      <p:cxnSp>
        <p:nvCxnSpPr>
          <p:cNvPr id="162" name="Straight Connector 34"/>
          <p:cNvCxnSpPr>
            <a:stCxn id="158" idx="3"/>
            <a:endCxn id="161" idx="1"/>
          </p:cNvCxnSpPr>
          <p:nvPr userDrawn="1"/>
        </p:nvCxnSpPr>
        <p:spPr bwMode="auto">
          <a:xfrm flipV="1">
            <a:off x="2521095" y="3105004"/>
            <a:ext cx="362725" cy="68407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2" name="Rectangle 181"/>
          <p:cNvSpPr/>
          <p:nvPr userDrawn="1"/>
        </p:nvSpPr>
        <p:spPr bwMode="auto">
          <a:xfrm>
            <a:off x="2883821" y="4149160"/>
            <a:ext cx="328276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r demand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3</a:t>
            </a:r>
          </a:p>
        </p:txBody>
      </p:sp>
      <p:sp>
        <p:nvSpPr>
          <p:cNvPr id="76" name="TextBox 29"/>
          <p:cNvSpPr txBox="1"/>
          <p:nvPr userDrawn="1"/>
        </p:nvSpPr>
        <p:spPr>
          <a:xfrm>
            <a:off x="6037518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10" name="Rectangle 109"/>
          <p:cNvSpPr/>
          <p:nvPr userDrawn="1"/>
        </p:nvSpPr>
        <p:spPr bwMode="auto">
          <a:xfrm>
            <a:off x="8735949" y="1628849"/>
            <a:ext cx="793957" cy="361180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11" name="Rectangle 110"/>
          <p:cNvSpPr/>
          <p:nvPr userDrawn="1"/>
        </p:nvSpPr>
        <p:spPr bwMode="auto">
          <a:xfrm>
            <a:off x="7432149" y="1628801"/>
            <a:ext cx="793957" cy="356439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4" name="Straight Connector 66"/>
          <p:cNvCxnSpPr/>
          <p:nvPr userDrawn="1"/>
        </p:nvCxnSpPr>
        <p:spPr bwMode="auto">
          <a:xfrm>
            <a:off x="7205485" y="1629204"/>
            <a:ext cx="0" cy="356399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5" name="Straight Connector 68"/>
          <p:cNvCxnSpPr/>
          <p:nvPr userDrawn="1"/>
        </p:nvCxnSpPr>
        <p:spPr bwMode="auto">
          <a:xfrm flipH="1">
            <a:off x="8427548" y="1623397"/>
            <a:ext cx="33931" cy="356979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Connecteur droit 18"/>
          <p:cNvCxnSpPr>
            <a:stCxn id="158" idx="3"/>
            <a:endCxn id="158" idx="3"/>
          </p:cNvCxnSpPr>
          <p:nvPr userDrawn="1"/>
        </p:nvCxnSpPr>
        <p:spPr bwMode="auto">
          <a:xfrm>
            <a:off x="2521095" y="3789080"/>
            <a:ext cx="0" cy="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442021" y="3237188"/>
            <a:ext cx="396375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pic>
        <p:nvPicPr>
          <p:cNvPr id="51" name="Image 50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56" name="Groupe 55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5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74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75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0" name="Groupe 79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8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3" name="Rectangle 82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4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6" name="ZoneTexte 85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7" name="Image 8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88" name="Image 8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89" name="Image 8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165" y="2948724"/>
            <a:ext cx="318039" cy="336260"/>
          </a:xfrm>
          <a:prstGeom prst="rect">
            <a:avLst/>
          </a:prstGeom>
        </p:spPr>
      </p:pic>
      <p:pic>
        <p:nvPicPr>
          <p:cNvPr id="90" name="Image 8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165" y="4329100"/>
            <a:ext cx="318039" cy="336260"/>
          </a:xfrm>
          <a:prstGeom prst="rect">
            <a:avLst/>
          </a:prstGeom>
        </p:spPr>
      </p:pic>
      <p:sp>
        <p:nvSpPr>
          <p:cNvPr id="42" name="Rectangle 41"/>
          <p:cNvSpPr/>
          <p:nvPr userDrawn="1"/>
        </p:nvSpPr>
        <p:spPr bwMode="auto">
          <a:xfrm>
            <a:off x="1820653" y="1699632"/>
            <a:ext cx="436593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cul limite d’âg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38</a:t>
            </a:r>
          </a:p>
        </p:txBody>
      </p:sp>
      <p:pic>
        <p:nvPicPr>
          <p:cNvPr id="43" name="Image 4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168" y="188082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8253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Masque départ retraite 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9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155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départs à la retraite (2/2) </a:t>
            </a:r>
          </a:p>
        </p:txBody>
      </p:sp>
      <p:sp>
        <p:nvSpPr>
          <p:cNvPr id="156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57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58" name="Rectangle 157"/>
          <p:cNvSpPr/>
          <p:nvPr userDrawn="1"/>
        </p:nvSpPr>
        <p:spPr bwMode="auto">
          <a:xfrm>
            <a:off x="1172740" y="3160031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Départ à la retraite</a:t>
            </a:r>
          </a:p>
        </p:txBody>
      </p:sp>
      <p:sp>
        <p:nvSpPr>
          <p:cNvPr id="161" name="Rectangle 160"/>
          <p:cNvSpPr/>
          <p:nvPr userDrawn="1"/>
        </p:nvSpPr>
        <p:spPr bwMode="auto">
          <a:xfrm>
            <a:off x="2936776" y="2103213"/>
            <a:ext cx="165618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traite pour invalidité d’origine professionnelle</a:t>
            </a:r>
          </a:p>
        </p:txBody>
      </p:sp>
      <p:cxnSp>
        <p:nvCxnSpPr>
          <p:cNvPr id="162" name="Straight Connector 34"/>
          <p:cNvCxnSpPr>
            <a:stCxn id="158" idx="3"/>
            <a:endCxn id="161" idx="1"/>
          </p:cNvCxnSpPr>
          <p:nvPr userDrawn="1"/>
        </p:nvCxnSpPr>
        <p:spPr bwMode="auto">
          <a:xfrm flipV="1">
            <a:off x="2612740" y="2463213"/>
            <a:ext cx="324036" cy="1056818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TextBox 29"/>
          <p:cNvSpPr txBox="1"/>
          <p:nvPr userDrawn="1"/>
        </p:nvSpPr>
        <p:spPr>
          <a:xfrm>
            <a:off x="5997116" y="1124744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517396" y="1124744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199014" y="1201689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10" name="Rectangle 109"/>
          <p:cNvSpPr/>
          <p:nvPr userDrawn="1"/>
        </p:nvSpPr>
        <p:spPr bwMode="auto">
          <a:xfrm>
            <a:off x="8695547" y="1628849"/>
            <a:ext cx="793957" cy="3648528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11" name="Rectangle 110"/>
          <p:cNvSpPr/>
          <p:nvPr userDrawn="1"/>
        </p:nvSpPr>
        <p:spPr bwMode="auto">
          <a:xfrm>
            <a:off x="7391747" y="1664804"/>
            <a:ext cx="793957" cy="361257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4" name="Straight Connector 66"/>
          <p:cNvCxnSpPr/>
          <p:nvPr userDrawn="1"/>
        </p:nvCxnSpPr>
        <p:spPr bwMode="auto">
          <a:xfrm>
            <a:off x="7165083" y="1304764"/>
            <a:ext cx="11594" cy="395632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5" name="Straight Connector 68"/>
          <p:cNvCxnSpPr/>
          <p:nvPr userDrawn="1"/>
        </p:nvCxnSpPr>
        <p:spPr bwMode="auto">
          <a:xfrm>
            <a:off x="8421077" y="1623397"/>
            <a:ext cx="0" cy="396213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78"/>
          <p:cNvSpPr/>
          <p:nvPr userDrawn="1"/>
        </p:nvSpPr>
        <p:spPr bwMode="auto">
          <a:xfrm>
            <a:off x="2936776" y="4216849"/>
            <a:ext cx="165618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traite pour invalidité non imputable au service</a:t>
            </a:r>
          </a:p>
        </p:txBody>
      </p:sp>
      <p:cxnSp>
        <p:nvCxnSpPr>
          <p:cNvPr id="19" name="Connecteur droit 18"/>
          <p:cNvCxnSpPr>
            <a:stCxn id="158" idx="3"/>
            <a:endCxn id="158" idx="3"/>
          </p:cNvCxnSpPr>
          <p:nvPr userDrawn="1"/>
        </p:nvCxnSpPr>
        <p:spPr bwMode="auto">
          <a:xfrm>
            <a:off x="2612740" y="3520031"/>
            <a:ext cx="0" cy="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Connecteur droit 21"/>
          <p:cNvCxnSpPr>
            <a:stCxn id="158" idx="3"/>
            <a:endCxn id="79" idx="1"/>
          </p:cNvCxnSpPr>
          <p:nvPr userDrawn="1"/>
        </p:nvCxnSpPr>
        <p:spPr bwMode="auto">
          <a:xfrm>
            <a:off x="2612740" y="3520031"/>
            <a:ext cx="324036" cy="1056818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/>
          <p:cNvSpPr/>
          <p:nvPr userDrawn="1"/>
        </p:nvSpPr>
        <p:spPr bwMode="auto">
          <a:xfrm>
            <a:off x="4986800" y="4689140"/>
            <a:ext cx="1057774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Sur demande</a:t>
            </a:r>
          </a:p>
          <a:p>
            <a:pPr algn="ctr"/>
            <a:r>
              <a:rPr lang="fr-FR" sz="1050" i="1" kern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ES0013</a:t>
            </a:r>
            <a:endParaRPr lang="fr-FR" sz="1050" i="1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4916995" y="3784298"/>
            <a:ext cx="1127579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’offic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15</a:t>
            </a:r>
          </a:p>
        </p:txBody>
      </p:sp>
      <p:cxnSp>
        <p:nvCxnSpPr>
          <p:cNvPr id="40" name="Connecteur droit 39"/>
          <p:cNvCxnSpPr>
            <a:stCxn id="79" idx="3"/>
            <a:endCxn id="96" idx="1"/>
          </p:cNvCxnSpPr>
          <p:nvPr userDrawn="1"/>
        </p:nvCxnSpPr>
        <p:spPr bwMode="auto">
          <a:xfrm flipV="1">
            <a:off x="4592960" y="4054298"/>
            <a:ext cx="324035" cy="522551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Connecteur droit 41"/>
          <p:cNvCxnSpPr>
            <a:stCxn id="79" idx="3"/>
            <a:endCxn id="95" idx="1"/>
          </p:cNvCxnSpPr>
          <p:nvPr userDrawn="1"/>
        </p:nvCxnSpPr>
        <p:spPr bwMode="auto">
          <a:xfrm>
            <a:off x="4592960" y="4576849"/>
            <a:ext cx="393840" cy="382291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1" name="Rectangle 90"/>
          <p:cNvSpPr/>
          <p:nvPr userDrawn="1"/>
        </p:nvSpPr>
        <p:spPr bwMode="auto">
          <a:xfrm>
            <a:off x="4964575" y="2721622"/>
            <a:ext cx="1080000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r demand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14</a:t>
            </a:r>
          </a:p>
        </p:txBody>
      </p:sp>
      <p:sp>
        <p:nvSpPr>
          <p:cNvPr id="92" name="Rectangle 91"/>
          <p:cNvSpPr/>
          <p:nvPr userDrawn="1"/>
        </p:nvSpPr>
        <p:spPr bwMode="auto">
          <a:xfrm>
            <a:off x="4916995" y="1664804"/>
            <a:ext cx="1127579" cy="54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’offic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16</a:t>
            </a:r>
          </a:p>
        </p:txBody>
      </p:sp>
      <p:cxnSp>
        <p:nvCxnSpPr>
          <p:cNvPr id="105" name="Connecteur droit 104"/>
          <p:cNvCxnSpPr>
            <a:stCxn id="161" idx="3"/>
            <a:endCxn id="92" idx="1"/>
          </p:cNvCxnSpPr>
          <p:nvPr userDrawn="1"/>
        </p:nvCxnSpPr>
        <p:spPr bwMode="auto">
          <a:xfrm flipV="1">
            <a:off x="4592960" y="1934804"/>
            <a:ext cx="324035" cy="52840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Connecteur droit 106"/>
          <p:cNvCxnSpPr>
            <a:stCxn id="161" idx="3"/>
            <a:endCxn id="91" idx="1"/>
          </p:cNvCxnSpPr>
          <p:nvPr userDrawn="1"/>
        </p:nvCxnSpPr>
        <p:spPr bwMode="auto">
          <a:xfrm>
            <a:off x="4592960" y="2463213"/>
            <a:ext cx="371615" cy="52840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63"/>
          <p:cNvSpPr/>
          <p:nvPr userDrawn="1"/>
        </p:nvSpPr>
        <p:spPr bwMode="auto">
          <a:xfrm rot="16200000">
            <a:off x="-1270811" y="3077244"/>
            <a:ext cx="362133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pic>
        <p:nvPicPr>
          <p:cNvPr id="60" name="Image 59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grpSp>
        <p:nvGrpSpPr>
          <p:cNvPr id="62" name="Groupe 61"/>
          <p:cNvGrpSpPr/>
          <p:nvPr userDrawn="1"/>
        </p:nvGrpSpPr>
        <p:grpSpPr>
          <a:xfrm>
            <a:off x="6480077" y="6309320"/>
            <a:ext cx="2649387" cy="272288"/>
            <a:chOff x="5719035" y="6231640"/>
            <a:chExt cx="2649387" cy="342577"/>
          </a:xfrm>
        </p:grpSpPr>
        <p:sp>
          <p:nvSpPr>
            <p:cNvPr id="63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5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9" name="TextBox 58"/>
          <p:cNvSpPr txBox="1"/>
          <p:nvPr userDrawn="1"/>
        </p:nvSpPr>
        <p:spPr>
          <a:xfrm>
            <a:off x="7008705" y="5841268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70" name="TextBox 58"/>
          <p:cNvSpPr txBox="1"/>
          <p:nvPr userDrawn="1"/>
        </p:nvSpPr>
        <p:spPr>
          <a:xfrm>
            <a:off x="7008705" y="6091992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1" name="Groupe 70"/>
          <p:cNvGrpSpPr/>
          <p:nvPr userDrawn="1"/>
        </p:nvGrpSpPr>
        <p:grpSpPr>
          <a:xfrm>
            <a:off x="6599228" y="6531151"/>
            <a:ext cx="2538714" cy="246221"/>
            <a:chOff x="6108241" y="6486136"/>
            <a:chExt cx="2538714" cy="316030"/>
          </a:xfrm>
        </p:grpSpPr>
        <p:pic>
          <p:nvPicPr>
            <p:cNvPr id="72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3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4" name="Rectangle 73"/>
          <p:cNvSpPr/>
          <p:nvPr userDrawn="1"/>
        </p:nvSpPr>
        <p:spPr bwMode="auto">
          <a:xfrm>
            <a:off x="6321152" y="5421840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5" name="TextBox 64"/>
          <p:cNvSpPr txBox="1"/>
          <p:nvPr userDrawn="1"/>
        </p:nvSpPr>
        <p:spPr>
          <a:xfrm>
            <a:off x="6249144" y="5265204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64994" y="586249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" name="ZoneTexte 80"/>
          <p:cNvSpPr txBox="1"/>
          <p:nvPr userDrawn="1"/>
        </p:nvSpPr>
        <p:spPr>
          <a:xfrm>
            <a:off x="6980990" y="5600563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014" y="5526231"/>
            <a:ext cx="318039" cy="336260"/>
          </a:xfrm>
          <a:prstGeom prst="rect">
            <a:avLst/>
          </a:prstGeom>
        </p:spPr>
      </p:pic>
      <p:pic>
        <p:nvPicPr>
          <p:cNvPr id="83" name="Image 8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502" y="6090923"/>
            <a:ext cx="362413" cy="362413"/>
          </a:xfrm>
          <a:prstGeom prst="rect">
            <a:avLst/>
          </a:prstGeom>
        </p:spPr>
      </p:pic>
      <p:pic>
        <p:nvPicPr>
          <p:cNvPr id="84" name="Image 8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164" y="4797152"/>
            <a:ext cx="318039" cy="336260"/>
          </a:xfrm>
          <a:prstGeom prst="rect">
            <a:avLst/>
          </a:prstGeom>
        </p:spPr>
      </p:pic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974" y="3855615"/>
            <a:ext cx="318039" cy="336260"/>
          </a:xfrm>
          <a:prstGeom prst="rect">
            <a:avLst/>
          </a:prstGeom>
        </p:spPr>
      </p:pic>
      <p:pic>
        <p:nvPicPr>
          <p:cNvPr id="86" name="Image 8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157" y="2834386"/>
            <a:ext cx="318039" cy="336260"/>
          </a:xfrm>
          <a:prstGeom prst="rect">
            <a:avLst/>
          </a:prstGeom>
        </p:spPr>
      </p:pic>
      <p:pic>
        <p:nvPicPr>
          <p:cNvPr id="87" name="Image 8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157" y="177869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28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rée fpe 3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aphicFrame>
        <p:nvGraphicFramePr>
          <p:cNvPr id="4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6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9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’entrée dans la FPE (3/3)</a:t>
            </a:r>
          </a:p>
        </p:txBody>
      </p:sp>
      <p:sp>
        <p:nvSpPr>
          <p:cNvPr id="42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7" name="TextBox 29"/>
          <p:cNvSpPr txBox="1"/>
          <p:nvPr userDrawn="1"/>
        </p:nvSpPr>
        <p:spPr>
          <a:xfrm>
            <a:off x="5529064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8" name="TextBox 65"/>
          <p:cNvSpPr txBox="1"/>
          <p:nvPr userDrawn="1"/>
        </p:nvSpPr>
        <p:spPr>
          <a:xfrm>
            <a:off x="8337376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6969224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8445388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2" name="Straight Connector 68"/>
          <p:cNvCxnSpPr/>
          <p:nvPr userDrawn="1"/>
        </p:nvCxnSpPr>
        <p:spPr bwMode="auto">
          <a:xfrm>
            <a:off x="8193360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45" name="Image 4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grpSp>
        <p:nvGrpSpPr>
          <p:cNvPr id="47" name="Groupe 46"/>
          <p:cNvGrpSpPr/>
          <p:nvPr userDrawn="1"/>
        </p:nvGrpSpPr>
        <p:grpSpPr>
          <a:xfrm>
            <a:off x="6283443" y="6201308"/>
            <a:ext cx="2649387" cy="272288"/>
            <a:chOff x="5719035" y="6231640"/>
            <a:chExt cx="2649387" cy="342577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0" name="Groupe 49"/>
          <p:cNvGrpSpPr/>
          <p:nvPr userDrawn="1"/>
        </p:nvGrpSpPr>
        <p:grpSpPr>
          <a:xfrm>
            <a:off x="6398409" y="6459143"/>
            <a:ext cx="2538714" cy="246221"/>
            <a:chOff x="6108241" y="6533126"/>
            <a:chExt cx="2538714" cy="316030"/>
          </a:xfrm>
        </p:grpSpPr>
        <p:pic>
          <p:nvPicPr>
            <p:cNvPr id="5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2" name="TextBox 60"/>
            <p:cNvSpPr txBox="1"/>
            <p:nvPr/>
          </p:nvSpPr>
          <p:spPr>
            <a:xfrm>
              <a:off x="6507928" y="653312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5" name="Rectangle 54"/>
          <p:cNvSpPr/>
          <p:nvPr userDrawn="1"/>
        </p:nvSpPr>
        <p:spPr bwMode="auto">
          <a:xfrm>
            <a:off x="6263824" y="5349831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Rectangle 57"/>
          <p:cNvSpPr/>
          <p:nvPr userDrawn="1"/>
        </p:nvSpPr>
        <p:spPr bwMode="auto">
          <a:xfrm rot="16200000">
            <a:off x="-1313493" y="3077324"/>
            <a:ext cx="36441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59" name="Image 58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6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6807886" y="59852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pic>
        <p:nvPicPr>
          <p:cNvPr id="6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ZoneTexte 66"/>
          <p:cNvSpPr txBox="1"/>
          <p:nvPr userDrawn="1"/>
        </p:nvSpPr>
        <p:spPr>
          <a:xfrm>
            <a:off x="6780171" y="5528555"/>
            <a:ext cx="2042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sp>
        <p:nvSpPr>
          <p:cNvPr id="56" name="TextBox 64"/>
          <p:cNvSpPr txBox="1"/>
          <p:nvPr userDrawn="1"/>
        </p:nvSpPr>
        <p:spPr>
          <a:xfrm>
            <a:off x="6156461" y="5190213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sp>
        <p:nvSpPr>
          <p:cNvPr id="46" name="TextBox 54"/>
          <p:cNvSpPr txBox="1"/>
          <p:nvPr userDrawn="1"/>
        </p:nvSpPr>
        <p:spPr>
          <a:xfrm>
            <a:off x="6283443" y="6275621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2864768" y="2564904"/>
            <a:ext cx="205583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 intégration direct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39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61" name="Straight Connector 68"/>
          <p:cNvCxnSpPr/>
          <p:nvPr userDrawn="1"/>
        </p:nvCxnSpPr>
        <p:spPr bwMode="auto">
          <a:xfrm>
            <a:off x="6897216" y="1615251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19877598-0751-4D57-9C4F-10B602B02689}"/>
              </a:ext>
            </a:extLst>
          </p:cNvPr>
          <p:cNvSpPr/>
          <p:nvPr userDrawn="1"/>
        </p:nvSpPr>
        <p:spPr bwMode="auto">
          <a:xfrm>
            <a:off x="7153901" y="1622994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73" name="Image 72">
            <a:extLst>
              <a:ext uri="{FF2B5EF4-FFF2-40B4-BE49-F238E27FC236}">
                <a16:creationId xmlns:a16="http://schemas.microsoft.com/office/drawing/2014/main" id="{D0538ABD-6A6B-435A-A0A0-83E1DF67729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1411" y="2758950"/>
            <a:ext cx="362413" cy="36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964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Titul f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aphicFrame>
        <p:nvGraphicFramePr>
          <p:cNvPr id="4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8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9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a titularisation dans la FPE</a:t>
            </a:r>
          </a:p>
        </p:txBody>
      </p:sp>
      <p:sp>
        <p:nvSpPr>
          <p:cNvPr id="42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2584595" y="2276872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Titularisation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06</a:t>
            </a:r>
          </a:p>
        </p:txBody>
      </p:sp>
      <p:sp>
        <p:nvSpPr>
          <p:cNvPr id="77" name="TextBox 29"/>
          <p:cNvSpPr txBox="1"/>
          <p:nvPr userDrawn="1"/>
        </p:nvSpPr>
        <p:spPr>
          <a:xfrm>
            <a:off x="5958547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8" name="TextBox 65"/>
          <p:cNvSpPr txBox="1"/>
          <p:nvPr userDrawn="1"/>
        </p:nvSpPr>
        <p:spPr>
          <a:xfrm>
            <a:off x="8532923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7214541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8711074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Rectangle 97"/>
          <p:cNvSpPr/>
          <p:nvPr userDrawn="1"/>
        </p:nvSpPr>
        <p:spPr bwMode="auto">
          <a:xfrm>
            <a:off x="7407274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1" name="Straight Connector 66"/>
          <p:cNvCxnSpPr/>
          <p:nvPr userDrawn="1"/>
        </p:nvCxnSpPr>
        <p:spPr bwMode="auto">
          <a:xfrm>
            <a:off x="7180610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68"/>
          <p:cNvCxnSpPr/>
          <p:nvPr userDrawn="1"/>
        </p:nvCxnSpPr>
        <p:spPr bwMode="auto">
          <a:xfrm>
            <a:off x="8436604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45" name="Image 4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4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7" name="Groupe 46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4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9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0" name="Groupe 49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5" name="Rectangle 54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6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5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Rectangle 59"/>
          <p:cNvSpPr/>
          <p:nvPr userDrawn="1"/>
        </p:nvSpPr>
        <p:spPr bwMode="auto">
          <a:xfrm rot="16200000">
            <a:off x="-1313493" y="3077324"/>
            <a:ext cx="36441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38" name="Image 37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2" name="ZoneTexte 1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4175" y="2468742"/>
            <a:ext cx="318039" cy="336260"/>
          </a:xfrm>
          <a:prstGeom prst="rect">
            <a:avLst/>
          </a:prstGeom>
        </p:spPr>
      </p:pic>
      <p:sp>
        <p:nvSpPr>
          <p:cNvPr id="37" name="Rectangle 36"/>
          <p:cNvSpPr/>
          <p:nvPr userDrawn="1"/>
        </p:nvSpPr>
        <p:spPr bwMode="auto">
          <a:xfrm>
            <a:off x="2586711" y="3311400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Titularisation et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Classement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24 (individuel)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33 (collectif)</a:t>
            </a: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2573965" y="4473196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Titularisation contractuel_art.L352-4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02</a:t>
            </a:r>
          </a:p>
        </p:txBody>
      </p:sp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1448" y="3525282"/>
            <a:ext cx="318039" cy="336260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1447" y="4715673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495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lass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aphicFrame>
        <p:nvGraphicFramePr>
          <p:cNvPr id="4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9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s actes de classement et reclassement</a:t>
            </a:r>
          </a:p>
        </p:txBody>
      </p:sp>
      <p:sp>
        <p:nvSpPr>
          <p:cNvPr id="42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099227" y="3541277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Reclassement</a:t>
            </a: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3264898" y="2755147"/>
            <a:ext cx="2880000" cy="60933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 err="1">
                <a:solidFill>
                  <a:srgbClr val="004272"/>
                </a:solidFill>
                <a:latin typeface="+mn-lt"/>
                <a:cs typeface="ＭＳ Ｐゴシック"/>
              </a:rPr>
              <a:t>Intégration_Reclassement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 suit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à invalidité / inaptitude physique par détachement – intégration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AR0020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54" name="Straight Connector 34"/>
          <p:cNvCxnSpPr>
            <a:stCxn id="43" idx="3"/>
            <a:endCxn id="53" idx="1"/>
          </p:cNvCxnSpPr>
          <p:nvPr userDrawn="1"/>
        </p:nvCxnSpPr>
        <p:spPr bwMode="auto">
          <a:xfrm flipV="1">
            <a:off x="2539227" y="3059817"/>
            <a:ext cx="725671" cy="84146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7" name="TextBox 29"/>
          <p:cNvSpPr txBox="1"/>
          <p:nvPr userDrawn="1"/>
        </p:nvSpPr>
        <p:spPr>
          <a:xfrm>
            <a:off x="5958547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8" name="TextBox 65"/>
          <p:cNvSpPr txBox="1"/>
          <p:nvPr userDrawn="1"/>
        </p:nvSpPr>
        <p:spPr>
          <a:xfrm>
            <a:off x="8532923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7214541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8711074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Rectangle 97"/>
          <p:cNvSpPr/>
          <p:nvPr userDrawn="1"/>
        </p:nvSpPr>
        <p:spPr bwMode="auto">
          <a:xfrm>
            <a:off x="7407274" y="1628801"/>
            <a:ext cx="793957" cy="250882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1" name="Straight Connector 66"/>
          <p:cNvCxnSpPr/>
          <p:nvPr userDrawn="1"/>
        </p:nvCxnSpPr>
        <p:spPr bwMode="auto">
          <a:xfrm>
            <a:off x="7180610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68"/>
          <p:cNvCxnSpPr/>
          <p:nvPr userDrawn="1"/>
        </p:nvCxnSpPr>
        <p:spPr bwMode="auto">
          <a:xfrm>
            <a:off x="8436604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1136576" y="173681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lassement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3240204" y="1639087"/>
            <a:ext cx="2880000" cy="43853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assement  suite à avancement de grad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22</a:t>
            </a:r>
          </a:p>
        </p:txBody>
      </p:sp>
      <p:cxnSp>
        <p:nvCxnSpPr>
          <p:cNvPr id="312932" name="Connecteur droit 312931"/>
          <p:cNvCxnSpPr>
            <a:stCxn id="74" idx="3"/>
            <a:endCxn id="75" idx="1"/>
          </p:cNvCxnSpPr>
          <p:nvPr userDrawn="1"/>
        </p:nvCxnSpPr>
        <p:spPr bwMode="auto">
          <a:xfrm flipV="1">
            <a:off x="2576576" y="1858357"/>
            <a:ext cx="663628" cy="23845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57156" y="5792852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775" y="6022353"/>
            <a:ext cx="362413" cy="362413"/>
          </a:xfrm>
          <a:prstGeom prst="rect">
            <a:avLst/>
          </a:prstGeom>
        </p:spPr>
      </p:pic>
      <p:grpSp>
        <p:nvGrpSpPr>
          <p:cNvPr id="59" name="Groupe 58"/>
          <p:cNvGrpSpPr/>
          <p:nvPr userDrawn="1"/>
        </p:nvGrpSpPr>
        <p:grpSpPr>
          <a:xfrm>
            <a:off x="6223389" y="6242136"/>
            <a:ext cx="2624809" cy="272288"/>
            <a:chOff x="5786383" y="6231640"/>
            <a:chExt cx="2624809" cy="342577"/>
          </a:xfrm>
        </p:grpSpPr>
        <p:sp>
          <p:nvSpPr>
            <p:cNvPr id="60" name="TextBox 54"/>
            <p:cNvSpPr txBox="1"/>
            <p:nvPr/>
          </p:nvSpPr>
          <p:spPr>
            <a:xfrm>
              <a:off x="5786383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72165" y="6231640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sp>
        <p:nvSpPr>
          <p:cNvPr id="64" name="TextBox 60"/>
          <p:cNvSpPr txBox="1"/>
          <p:nvPr/>
        </p:nvSpPr>
        <p:spPr>
          <a:xfrm>
            <a:off x="6707206" y="6444928"/>
            <a:ext cx="21390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cte à produire</a:t>
            </a:r>
          </a:p>
        </p:txBody>
      </p:sp>
      <p:sp>
        <p:nvSpPr>
          <p:cNvPr id="44" name="Rectangle 43"/>
          <p:cNvSpPr/>
          <p:nvPr userDrawn="1"/>
        </p:nvSpPr>
        <p:spPr bwMode="auto">
          <a:xfrm rot="16200000">
            <a:off x="-1313493" y="3077324"/>
            <a:ext cx="36441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3260752" y="3664930"/>
            <a:ext cx="2880000" cy="47269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classement suite à invalidité / inaptitude physique par détachement – réintégration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19</a:t>
            </a:r>
          </a:p>
        </p:txBody>
      </p:sp>
      <p:cxnSp>
        <p:nvCxnSpPr>
          <p:cNvPr id="49" name="Straight Connector 34"/>
          <p:cNvCxnSpPr>
            <a:stCxn id="43" idx="3"/>
            <a:endCxn id="48" idx="1"/>
          </p:cNvCxnSpPr>
          <p:nvPr userDrawn="1"/>
        </p:nvCxnSpPr>
        <p:spPr bwMode="auto">
          <a:xfrm>
            <a:off x="2539227" y="3901277"/>
            <a:ext cx="721525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Rectangle 49"/>
          <p:cNvSpPr/>
          <p:nvPr userDrawn="1"/>
        </p:nvSpPr>
        <p:spPr bwMode="auto">
          <a:xfrm>
            <a:off x="3319589" y="4432469"/>
            <a:ext cx="2880000" cy="68871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classement suite à invalidit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/ inaptitude physique par détachemen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17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18</a:t>
            </a:r>
          </a:p>
        </p:txBody>
      </p:sp>
      <p:cxnSp>
        <p:nvCxnSpPr>
          <p:cNvPr id="51" name="Straight Connector 34"/>
          <p:cNvCxnSpPr>
            <a:stCxn id="43" idx="3"/>
            <a:endCxn id="50" idx="1"/>
          </p:cNvCxnSpPr>
          <p:nvPr userDrawn="1"/>
        </p:nvCxnSpPr>
        <p:spPr bwMode="auto">
          <a:xfrm>
            <a:off x="2539227" y="3901277"/>
            <a:ext cx="780362" cy="87555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5" name="Image 64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71" name="Rectangle 70"/>
          <p:cNvSpPr/>
          <p:nvPr userDrawn="1"/>
        </p:nvSpPr>
        <p:spPr bwMode="auto">
          <a:xfrm>
            <a:off x="3260752" y="2175877"/>
            <a:ext cx="2880000" cy="43853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lassement suite à changement de corp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23</a:t>
            </a:r>
          </a:p>
        </p:txBody>
      </p:sp>
      <p:cxnSp>
        <p:nvCxnSpPr>
          <p:cNvPr id="73" name="Connecteur droit 72"/>
          <p:cNvCxnSpPr>
            <a:stCxn id="74" idx="3"/>
            <a:endCxn id="71" idx="1"/>
          </p:cNvCxnSpPr>
          <p:nvPr userDrawn="1"/>
        </p:nvCxnSpPr>
        <p:spPr bwMode="auto">
          <a:xfrm>
            <a:off x="2576576" y="2096812"/>
            <a:ext cx="684176" cy="29833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TextBox 58"/>
          <p:cNvSpPr txBox="1"/>
          <p:nvPr userDrawn="1"/>
        </p:nvSpPr>
        <p:spPr>
          <a:xfrm>
            <a:off x="671719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80" name="TextBox 58"/>
          <p:cNvSpPr txBox="1"/>
          <p:nvPr userDrawn="1"/>
        </p:nvSpPr>
        <p:spPr>
          <a:xfrm>
            <a:off x="6698775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sp>
        <p:nvSpPr>
          <p:cNvPr id="81" name="Rectangle 80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3" name="ZoneTexte 82"/>
          <p:cNvSpPr txBox="1"/>
          <p:nvPr userDrawn="1"/>
        </p:nvSpPr>
        <p:spPr>
          <a:xfrm>
            <a:off x="6717196" y="5528555"/>
            <a:ext cx="2042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4" name="Image 8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sp>
        <p:nvSpPr>
          <p:cNvPr id="55" name="TextBox 64"/>
          <p:cNvSpPr txBox="1"/>
          <p:nvPr userDrawn="1"/>
        </p:nvSpPr>
        <p:spPr>
          <a:xfrm>
            <a:off x="6258881" y="5210369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5" name="Image 8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2374" y="2939710"/>
            <a:ext cx="318039" cy="336260"/>
          </a:xfrm>
          <a:prstGeom prst="rect">
            <a:avLst/>
          </a:prstGeom>
        </p:spPr>
      </p:pic>
      <p:pic>
        <p:nvPicPr>
          <p:cNvPr id="86" name="Image 8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162" y="2201749"/>
            <a:ext cx="318039" cy="336260"/>
          </a:xfrm>
          <a:prstGeom prst="rect">
            <a:avLst/>
          </a:prstGeom>
        </p:spPr>
      </p:pic>
      <p:pic>
        <p:nvPicPr>
          <p:cNvPr id="87" name="Image 8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2374" y="1714485"/>
            <a:ext cx="318039" cy="336260"/>
          </a:xfrm>
          <a:prstGeom prst="rect">
            <a:avLst/>
          </a:prstGeom>
        </p:spPr>
      </p:pic>
      <p:pic>
        <p:nvPicPr>
          <p:cNvPr id="58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371568" y="6523557"/>
            <a:ext cx="201612" cy="140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Image 5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162" y="3740812"/>
            <a:ext cx="318039" cy="336260"/>
          </a:xfrm>
          <a:prstGeom prst="rect">
            <a:avLst/>
          </a:prstGeom>
        </p:spPr>
      </p:pic>
      <p:pic>
        <p:nvPicPr>
          <p:cNvPr id="62" name="Image 6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2374" y="4615454"/>
            <a:ext cx="318039" cy="336260"/>
          </a:xfrm>
          <a:prstGeom prst="rect">
            <a:avLst/>
          </a:prstGeom>
        </p:spPr>
      </p:pic>
      <p:pic>
        <p:nvPicPr>
          <p:cNvPr id="63" name="Image 6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7841" y="459961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754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avct échelon chevr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1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46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4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247188" y="6369050"/>
            <a:ext cx="658812" cy="457200"/>
          </a:xfrm>
        </p:spPr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50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51" name="Rectangle 150"/>
          <p:cNvSpPr/>
          <p:nvPr userDrawn="1"/>
        </p:nvSpPr>
        <p:spPr bwMode="auto">
          <a:xfrm>
            <a:off x="992560" y="2240868"/>
            <a:ext cx="18002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Avancement d’échelon</a:t>
            </a:r>
          </a:p>
        </p:txBody>
      </p:sp>
      <p:sp>
        <p:nvSpPr>
          <p:cNvPr id="153" name="Rectangle 152"/>
          <p:cNvSpPr/>
          <p:nvPr userDrawn="1"/>
        </p:nvSpPr>
        <p:spPr bwMode="auto">
          <a:xfrm>
            <a:off x="3462122" y="2240868"/>
            <a:ext cx="2508225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’échel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ur un emploi fonctionnel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AR0008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154" name="Straight Connector 34"/>
          <p:cNvCxnSpPr>
            <a:stCxn id="151" idx="3"/>
            <a:endCxn id="153" idx="1"/>
          </p:cNvCxnSpPr>
          <p:nvPr userDrawn="1"/>
        </p:nvCxnSpPr>
        <p:spPr bwMode="auto">
          <a:xfrm>
            <a:off x="2792760" y="2528868"/>
            <a:ext cx="669362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3" name="Title 2"/>
          <p:cNvSpPr txBox="1">
            <a:spLocks/>
          </p:cNvSpPr>
          <p:nvPr userDrawn="1"/>
        </p:nvSpPr>
        <p:spPr bwMode="gray">
          <a:xfrm>
            <a:off x="425480" y="260647"/>
            <a:ext cx="9061450" cy="7557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’avancement d’échelon et </a:t>
            </a:r>
          </a:p>
          <a:p>
            <a:pPr eaLnBrk="1" hangingPunct="1"/>
            <a:r>
              <a:rPr lang="fr-FR" sz="1800" kern="0" dirty="0"/>
              <a:t>du</a:t>
            </a:r>
            <a:r>
              <a:rPr lang="fr-FR" sz="1800" kern="0" baseline="0" dirty="0"/>
              <a:t> Reclassement hors promotion</a:t>
            </a:r>
            <a:endParaRPr lang="fr-FR" sz="1800" kern="0" dirty="0"/>
          </a:p>
        </p:txBody>
      </p:sp>
      <p:sp>
        <p:nvSpPr>
          <p:cNvPr id="66" name="TextBox 29"/>
          <p:cNvSpPr txBox="1"/>
          <p:nvPr userDrawn="1"/>
        </p:nvSpPr>
        <p:spPr>
          <a:xfrm>
            <a:off x="5970347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67" name="TextBox 65"/>
          <p:cNvSpPr txBox="1"/>
          <p:nvPr userDrawn="1"/>
        </p:nvSpPr>
        <p:spPr>
          <a:xfrm>
            <a:off x="8544723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9" name="TextBox 69"/>
          <p:cNvSpPr txBox="1"/>
          <p:nvPr userDrawn="1"/>
        </p:nvSpPr>
        <p:spPr>
          <a:xfrm>
            <a:off x="7226341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88" name="Rectangle 87"/>
          <p:cNvSpPr/>
          <p:nvPr userDrawn="1"/>
        </p:nvSpPr>
        <p:spPr bwMode="auto">
          <a:xfrm>
            <a:off x="8722874" y="1628848"/>
            <a:ext cx="793957" cy="338554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89" name="Rectangle 88"/>
          <p:cNvSpPr/>
          <p:nvPr userDrawn="1"/>
        </p:nvSpPr>
        <p:spPr bwMode="auto">
          <a:xfrm>
            <a:off x="7419074" y="1628802"/>
            <a:ext cx="793957" cy="3390638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92" name="Straight Connector 66"/>
          <p:cNvCxnSpPr/>
          <p:nvPr userDrawn="1"/>
        </p:nvCxnSpPr>
        <p:spPr bwMode="auto">
          <a:xfrm>
            <a:off x="7192410" y="1629204"/>
            <a:ext cx="0" cy="38880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68"/>
          <p:cNvCxnSpPr/>
          <p:nvPr userDrawn="1"/>
        </p:nvCxnSpPr>
        <p:spPr bwMode="auto">
          <a:xfrm>
            <a:off x="8448404" y="1623397"/>
            <a:ext cx="0" cy="389383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63"/>
          <p:cNvSpPr/>
          <p:nvPr userDrawn="1"/>
        </p:nvSpPr>
        <p:spPr bwMode="auto">
          <a:xfrm>
            <a:off x="3471226" y="4646936"/>
            <a:ext cx="2499121" cy="72628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classement_chgt_corpsOUgrade_hors_promotion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 (T)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AR0036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(individuel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AR0038 (collectif)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5" name="Rectangle 64"/>
          <p:cNvSpPr/>
          <p:nvPr userDrawn="1"/>
        </p:nvSpPr>
        <p:spPr bwMode="auto">
          <a:xfrm>
            <a:off x="3440831" y="1577009"/>
            <a:ext cx="2529516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’échel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ans un corps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03</a:t>
            </a:r>
          </a:p>
        </p:txBody>
      </p:sp>
      <p:sp>
        <p:nvSpPr>
          <p:cNvPr id="69" name="Rectangle 68"/>
          <p:cNvSpPr/>
          <p:nvPr userDrawn="1"/>
        </p:nvSpPr>
        <p:spPr bwMode="auto">
          <a:xfrm>
            <a:off x="3471226" y="3645088"/>
            <a:ext cx="2499121" cy="7575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 err="1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Reclassement_dans_grade_hors_promotion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 (T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35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(individuel)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CAR0037 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(collectif)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6" name="Connecteur droit 5"/>
          <p:cNvCxnSpPr>
            <a:stCxn id="151" idx="3"/>
            <a:endCxn id="65" idx="1"/>
          </p:cNvCxnSpPr>
          <p:nvPr userDrawn="1"/>
        </p:nvCxnSpPr>
        <p:spPr bwMode="auto">
          <a:xfrm flipV="1">
            <a:off x="2792760" y="1865009"/>
            <a:ext cx="648071" cy="66385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Connecteur droit 7"/>
          <p:cNvCxnSpPr>
            <a:stCxn id="55" idx="3"/>
            <a:endCxn id="69" idx="1"/>
          </p:cNvCxnSpPr>
          <p:nvPr userDrawn="1"/>
        </p:nvCxnSpPr>
        <p:spPr bwMode="auto">
          <a:xfrm flipV="1">
            <a:off x="2792760" y="4023864"/>
            <a:ext cx="678466" cy="44928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Connecteur droit 11"/>
          <p:cNvCxnSpPr>
            <a:stCxn id="55" idx="3"/>
            <a:endCxn id="64" idx="1"/>
          </p:cNvCxnSpPr>
          <p:nvPr userDrawn="1"/>
        </p:nvCxnSpPr>
        <p:spPr bwMode="auto">
          <a:xfrm>
            <a:off x="2792760" y="4473148"/>
            <a:ext cx="678466" cy="53692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4" name="Image 4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922" y="6090923"/>
            <a:ext cx="362413" cy="362413"/>
          </a:xfrm>
          <a:prstGeom prst="rect">
            <a:avLst/>
          </a:prstGeom>
        </p:spPr>
      </p:pic>
      <p:sp>
        <p:nvSpPr>
          <p:cNvPr id="45" name="TextBox 58"/>
          <p:cNvSpPr txBox="1"/>
          <p:nvPr userDrawn="1"/>
        </p:nvSpPr>
        <p:spPr>
          <a:xfrm>
            <a:off x="6825208" y="6099103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6" name="Groupe 45"/>
          <p:cNvGrpSpPr/>
          <p:nvPr userDrawn="1"/>
        </p:nvGrpSpPr>
        <p:grpSpPr>
          <a:xfrm>
            <a:off x="6368169" y="6315126"/>
            <a:ext cx="2596066" cy="246222"/>
            <a:chOff x="5727309" y="6347218"/>
            <a:chExt cx="2596066" cy="309782"/>
          </a:xfrm>
        </p:grpSpPr>
        <p:sp>
          <p:nvSpPr>
            <p:cNvPr id="47" name="TextBox 54"/>
            <p:cNvSpPr txBox="1"/>
            <p:nvPr/>
          </p:nvSpPr>
          <p:spPr>
            <a:xfrm>
              <a:off x="5727309" y="6374210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48" name="TextBox 59"/>
            <p:cNvSpPr txBox="1"/>
            <p:nvPr/>
          </p:nvSpPr>
          <p:spPr>
            <a:xfrm>
              <a:off x="6184348" y="6347218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49" name="Groupe 48"/>
          <p:cNvGrpSpPr/>
          <p:nvPr userDrawn="1"/>
        </p:nvGrpSpPr>
        <p:grpSpPr>
          <a:xfrm>
            <a:off x="6482648" y="6532801"/>
            <a:ext cx="2385107" cy="205373"/>
            <a:chOff x="6108241" y="6482036"/>
            <a:chExt cx="2481586" cy="316030"/>
          </a:xfrm>
        </p:grpSpPr>
        <p:pic>
          <p:nvPicPr>
            <p:cNvPr id="5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1" name="TextBox 60"/>
            <p:cNvSpPr txBox="1"/>
            <p:nvPr/>
          </p:nvSpPr>
          <p:spPr>
            <a:xfrm>
              <a:off x="6450800" y="64820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2" name="Rectangle 51"/>
          <p:cNvSpPr/>
          <p:nvPr userDrawn="1"/>
        </p:nvSpPr>
        <p:spPr bwMode="auto">
          <a:xfrm>
            <a:off x="6274206" y="5582236"/>
            <a:ext cx="2854029" cy="1220189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448414" y="590971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Rectangle 56"/>
          <p:cNvSpPr/>
          <p:nvPr userDrawn="1"/>
        </p:nvSpPr>
        <p:spPr bwMode="auto">
          <a:xfrm>
            <a:off x="3442368" y="2888940"/>
            <a:ext cx="2527979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’échelon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collectif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AR0012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24" name="Connecteur droit 23"/>
          <p:cNvCxnSpPr>
            <a:stCxn id="151" idx="3"/>
            <a:endCxn id="57" idx="1"/>
          </p:cNvCxnSpPr>
          <p:nvPr userDrawn="1"/>
        </p:nvCxnSpPr>
        <p:spPr bwMode="auto">
          <a:xfrm>
            <a:off x="2792760" y="2528868"/>
            <a:ext cx="649608" cy="6480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" name="Rectangle 59"/>
          <p:cNvSpPr/>
          <p:nvPr userDrawn="1"/>
        </p:nvSpPr>
        <p:spPr bwMode="auto">
          <a:xfrm rot="16200000">
            <a:off x="-1423923" y="3187121"/>
            <a:ext cx="394022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arrière</a:t>
            </a:r>
          </a:p>
        </p:txBody>
      </p:sp>
      <p:pic>
        <p:nvPicPr>
          <p:cNvPr id="73" name="Image 72" descr="Capture d’écran">
            <a:hlinkClick r:id="rId8" action="ppaction://hlinksldjump"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24" y="250341"/>
            <a:ext cx="1173921" cy="769672"/>
          </a:xfrm>
          <a:prstGeom prst="rect">
            <a:avLst/>
          </a:prstGeom>
        </p:spPr>
      </p:pic>
      <p:sp>
        <p:nvSpPr>
          <p:cNvPr id="56" name="TextBox 58"/>
          <p:cNvSpPr txBox="1"/>
          <p:nvPr userDrawn="1"/>
        </p:nvSpPr>
        <p:spPr>
          <a:xfrm>
            <a:off x="6809952" y="5878312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2" name="ZoneTexte 61"/>
          <p:cNvSpPr txBox="1"/>
          <p:nvPr userDrawn="1"/>
        </p:nvSpPr>
        <p:spPr>
          <a:xfrm>
            <a:off x="6818548" y="5627549"/>
            <a:ext cx="20425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6" name="Image 7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6084" y="2387420"/>
            <a:ext cx="318039" cy="336260"/>
          </a:xfrm>
          <a:prstGeom prst="rect">
            <a:avLst/>
          </a:prstGeom>
        </p:spPr>
      </p:pic>
      <p:pic>
        <p:nvPicPr>
          <p:cNvPr id="77" name="Image 7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6351" y="1753214"/>
            <a:ext cx="318039" cy="336260"/>
          </a:xfrm>
          <a:prstGeom prst="rect">
            <a:avLst/>
          </a:prstGeom>
        </p:spPr>
      </p:pic>
      <p:sp>
        <p:nvSpPr>
          <p:cNvPr id="53" name="TextBox 64"/>
          <p:cNvSpPr txBox="1"/>
          <p:nvPr userDrawn="1"/>
        </p:nvSpPr>
        <p:spPr>
          <a:xfrm>
            <a:off x="6141132" y="537321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157" y="5589240"/>
            <a:ext cx="318039" cy="336260"/>
          </a:xfrm>
          <a:prstGeom prst="rect">
            <a:avLst/>
          </a:prstGeom>
        </p:spPr>
      </p:pic>
      <p:sp>
        <p:nvSpPr>
          <p:cNvPr id="55" name="Rectangle 54"/>
          <p:cNvSpPr/>
          <p:nvPr userDrawn="1"/>
        </p:nvSpPr>
        <p:spPr bwMode="auto">
          <a:xfrm>
            <a:off x="992560" y="4185148"/>
            <a:ext cx="18002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sz="1100" b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Arial" panose="020B0604020202020204" pitchFamily="34" charset="0"/>
              </a:rPr>
              <a:t>Reclassement hors promotion</a:t>
            </a:r>
          </a:p>
        </p:txBody>
      </p:sp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8537" y="3857514"/>
            <a:ext cx="318039" cy="336260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6083" y="3021736"/>
            <a:ext cx="318039" cy="336260"/>
          </a:xfrm>
          <a:prstGeom prst="rect">
            <a:avLst/>
          </a:prstGeom>
        </p:spPr>
      </p:pic>
      <p:pic>
        <p:nvPicPr>
          <p:cNvPr id="61" name="Image 6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6082" y="4864413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0158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1"/>
          <p:cNvGraphicFramePr>
            <a:graphicFrameLocks noChangeAspect="1"/>
          </p:cNvGraphicFramePr>
          <p:nvPr>
            <p:custDataLst>
              <p:tags r:id="rId5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" name="think-cell Slide" r:id="rId58" imgW="360" imgH="360" progId="">
                  <p:embed/>
                </p:oleObj>
              </mc:Choice>
              <mc:Fallback>
                <p:oleObj name="think-cell Slide" r:id="rId58" imgW="360" imgH="360" progId="">
                  <p:embed/>
                  <p:pic>
                    <p:nvPicPr>
                      <p:cNvPr id="0" name="Object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et modifiez le titre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8000" y="1484313"/>
            <a:ext cx="8982075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pour modifier les styles du texte 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 i="0" u="none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391" r:id="rId1"/>
    <p:sldLayoutId id="2147487396" r:id="rId2"/>
    <p:sldLayoutId id="2147487397" r:id="rId3"/>
    <p:sldLayoutId id="2147487399" r:id="rId4"/>
    <p:sldLayoutId id="2147487444" r:id="rId5"/>
    <p:sldLayoutId id="2147487449" r:id="rId6"/>
    <p:sldLayoutId id="2147487398" r:id="rId7"/>
    <p:sldLayoutId id="2147487400" r:id="rId8"/>
    <p:sldLayoutId id="2147487401" r:id="rId9"/>
    <p:sldLayoutId id="2147487445" r:id="rId10"/>
    <p:sldLayoutId id="2147487402" r:id="rId11"/>
    <p:sldLayoutId id="2147487403" r:id="rId12"/>
    <p:sldLayoutId id="2147487404" r:id="rId13"/>
    <p:sldLayoutId id="2147487405" r:id="rId14"/>
    <p:sldLayoutId id="2147487450" r:id="rId15"/>
    <p:sldLayoutId id="2147487433" r:id="rId16"/>
    <p:sldLayoutId id="2147487442" r:id="rId17"/>
    <p:sldLayoutId id="2147487406" r:id="rId18"/>
    <p:sldLayoutId id="2147487448" r:id="rId19"/>
    <p:sldLayoutId id="2147487441" r:id="rId20"/>
    <p:sldLayoutId id="2147487407" r:id="rId21"/>
    <p:sldLayoutId id="2147487408" r:id="rId22"/>
    <p:sldLayoutId id="2147487439" r:id="rId23"/>
    <p:sldLayoutId id="2147487434" r:id="rId24"/>
    <p:sldLayoutId id="2147487409" r:id="rId25"/>
    <p:sldLayoutId id="2147487443" r:id="rId26"/>
    <p:sldLayoutId id="2147487446" r:id="rId27"/>
    <p:sldLayoutId id="2147487410" r:id="rId28"/>
    <p:sldLayoutId id="2147487412" r:id="rId29"/>
    <p:sldLayoutId id="2147487411" r:id="rId30"/>
    <p:sldLayoutId id="2147487413" r:id="rId31"/>
    <p:sldLayoutId id="2147487414" r:id="rId32"/>
    <p:sldLayoutId id="2147487435" r:id="rId33"/>
    <p:sldLayoutId id="2147487415" r:id="rId34"/>
    <p:sldLayoutId id="2147487416" r:id="rId35"/>
    <p:sldLayoutId id="2147487417" r:id="rId36"/>
    <p:sldLayoutId id="2147487418" r:id="rId37"/>
    <p:sldLayoutId id="2147487419" r:id="rId38"/>
    <p:sldLayoutId id="2147487447" r:id="rId39"/>
    <p:sldLayoutId id="2147487440" r:id="rId40"/>
    <p:sldLayoutId id="2147487420" r:id="rId41"/>
    <p:sldLayoutId id="2147487421" r:id="rId42"/>
    <p:sldLayoutId id="2147487422" r:id="rId43"/>
    <p:sldLayoutId id="2147487423" r:id="rId44"/>
    <p:sldLayoutId id="2147487424" r:id="rId45"/>
    <p:sldLayoutId id="2147487425" r:id="rId46"/>
    <p:sldLayoutId id="2147487426" r:id="rId47"/>
    <p:sldLayoutId id="2147487427" r:id="rId48"/>
    <p:sldLayoutId id="2147487428" r:id="rId49"/>
    <p:sldLayoutId id="2147487429" r:id="rId50"/>
    <p:sldLayoutId id="2147487437" r:id="rId51"/>
    <p:sldLayoutId id="2147487430" r:id="rId52"/>
    <p:sldLayoutId id="2147487438" r:id="rId53"/>
    <p:sldLayoutId id="2147487432" r:id="rId5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9pPr>
    </p:titleStyle>
    <p:bodyStyle>
      <a:lvl1pPr marL="266700" indent="-26670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SzPct val="120000"/>
        <a:buFont typeface="Arial" pitchFamily="34" charset="0"/>
        <a:buChar char="•"/>
        <a:defRPr sz="18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marL="533400" indent="-265113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alibri" pitchFamily="34" charset="0"/>
        <a:buChar char="–"/>
        <a:defRPr sz="16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2pPr>
      <a:lvl3pPr marL="1085850" indent="-36195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ourier New" pitchFamily="49" charset="0"/>
        <a:buChar char="o"/>
        <a:defRPr sz="14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3pPr>
      <a:lvl4pPr marL="1600200" indent="-228600" algn="l" rtl="0" eaLnBrk="0" fontAlgn="base" hangingPunct="0">
        <a:spcBef>
          <a:spcPts val="600"/>
        </a:spcBef>
        <a:spcAft>
          <a:spcPts val="600"/>
        </a:spcAft>
        <a:buChar char="–"/>
        <a:defRPr sz="1200">
          <a:solidFill>
            <a:srgbClr val="4D4D4D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marL="2057400" indent="-228600" algn="l" rtl="0" eaLnBrk="0" fontAlgn="base" hangingPunct="0">
        <a:spcBef>
          <a:spcPts val="600"/>
        </a:spcBef>
        <a:spcAft>
          <a:spcPts val="600"/>
        </a:spcAft>
        <a:buChar char="»"/>
        <a:defRPr sz="1200">
          <a:solidFill>
            <a:schemeClr val="tx1"/>
          </a:solidFill>
          <a:latin typeface="+mn-lt"/>
          <a:ea typeface="ＭＳ Ｐゴシック" pitchFamily="34" charset="-128"/>
          <a:cs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kelig.le-grand@finances.gouv.fr" TargetMode="External"/><Relationship Id="rId7" Type="http://schemas.openxmlformats.org/officeDocument/2006/relationships/image" Target="../media/image18.png"/><Relationship Id="rId2" Type="http://schemas.openxmlformats.org/officeDocument/2006/relationships/hyperlink" Target="mailto:virginie.lentignac@finances.gouv.fr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hyperlink" Target="mailto:L-CISIRH&#8212;BARRI-BDA@finances.gouv.fr" TargetMode="External"/><Relationship Id="rId4" Type="http://schemas.openxmlformats.org/officeDocument/2006/relationships/hyperlink" Target="mailto:marwa.moussif@finances.gouv.fr" TargetMode="Externa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8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pissarho.cisirh.rie.gouv.fr/fonds-documentaire/open-rh-fpe/gestion-administrative" TargetMode="External"/><Relationship Id="rId3" Type="http://schemas.openxmlformats.org/officeDocument/2006/relationships/image" Target="../media/image20.png"/><Relationship Id="rId7" Type="http://schemas.openxmlformats.org/officeDocument/2006/relationships/hyperlink" Target="https://hopper.cisirh.budget.gouv.fr/BdA" TargetMode="External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5.png"/><Relationship Id="rId4" Type="http://schemas.openxmlformats.org/officeDocument/2006/relationships/image" Target="../media/image21.png"/><Relationship Id="rId9" Type="http://schemas.openxmlformats.org/officeDocument/2006/relationships/image" Target="../media/image24.tmp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le 1"/>
          <p:cNvSpPr>
            <a:spLocks noGrp="1"/>
          </p:cNvSpPr>
          <p:nvPr>
            <p:ph type="ctrTitle"/>
          </p:nvPr>
        </p:nvSpPr>
        <p:spPr>
          <a:xfrm>
            <a:off x="3521075" y="620688"/>
            <a:ext cx="5032375" cy="1295400"/>
          </a:xfrm>
        </p:spPr>
        <p:txBody>
          <a:bodyPr/>
          <a:lstStyle/>
          <a:p>
            <a:r>
              <a:rPr lang="fr-FR" altLang="fr-FR" dirty="0"/>
              <a:t>CISIRH</a:t>
            </a:r>
            <a:br>
              <a:rPr lang="fr-FR" altLang="fr-FR" dirty="0"/>
            </a:br>
            <a:r>
              <a:rPr lang="fr-FR" altLang="fr-FR" dirty="0"/>
              <a:t>Bibliothèque des actes</a:t>
            </a:r>
            <a:endParaRPr lang="fr-FR" altLang="fr-FR" b="0" i="1" dirty="0"/>
          </a:p>
        </p:txBody>
      </p:sp>
      <p:sp>
        <p:nvSpPr>
          <p:cNvPr id="52227" name="Subtitle 2"/>
          <p:cNvSpPr>
            <a:spLocks noGrp="1"/>
          </p:cNvSpPr>
          <p:nvPr>
            <p:ph type="subTitle" idx="1"/>
          </p:nvPr>
        </p:nvSpPr>
        <p:spPr>
          <a:xfrm>
            <a:off x="2504728" y="1484784"/>
            <a:ext cx="6048722" cy="1836204"/>
          </a:xfrm>
        </p:spPr>
        <p:txBody>
          <a:bodyPr/>
          <a:lstStyle/>
          <a:p>
            <a:endParaRPr lang="fr-FR" dirty="0">
              <a:ea typeface="ＭＳ Ｐゴシック"/>
            </a:endParaRPr>
          </a:p>
          <a:p>
            <a:endParaRPr lang="fr-FR" dirty="0">
              <a:ea typeface="ＭＳ Ｐゴシック"/>
            </a:endParaRPr>
          </a:p>
          <a:p>
            <a:r>
              <a:rPr lang="fr-FR" dirty="0">
                <a:ea typeface="ＭＳ Ｐゴシック"/>
              </a:rPr>
              <a:t>Parcours de l’agent fonctionnaire</a:t>
            </a:r>
          </a:p>
          <a:p>
            <a:endParaRPr lang="fr-FR" dirty="0">
              <a:ea typeface="ＭＳ Ｐゴシック"/>
            </a:endParaRPr>
          </a:p>
          <a:p>
            <a:r>
              <a:rPr lang="fr-FR" dirty="0">
                <a:ea typeface="ＭＳ Ｐゴシック"/>
              </a:rPr>
              <a:t>Version 23.10.00</a:t>
            </a:r>
          </a:p>
          <a:p>
            <a:endParaRPr lang="fr-FR" dirty="0">
              <a:ea typeface="ＭＳ Ｐゴシック"/>
            </a:endParaRPr>
          </a:p>
          <a:p>
            <a:r>
              <a:rPr lang="fr-FR" dirty="0">
                <a:ea typeface="ＭＳ Ｐゴシック"/>
              </a:rPr>
              <a:t>1</a:t>
            </a:r>
            <a:r>
              <a:rPr lang="fr-FR" baseline="30000" dirty="0">
                <a:ea typeface="ＭＳ Ｐゴシック"/>
              </a:rPr>
              <a:t>er</a:t>
            </a:r>
            <a:r>
              <a:rPr lang="fr-FR" dirty="0">
                <a:ea typeface="ＭＳ Ｐゴシック"/>
              </a:rPr>
              <a:t>/02/2024</a:t>
            </a:r>
          </a:p>
          <a:p>
            <a:endParaRPr lang="fr-FR" dirty="0"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6931423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76721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71585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46639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64936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58878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39814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25988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42563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24314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84379938-8EE9-463E-ACB2-E8753203CF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3695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8687" y="3717032"/>
            <a:ext cx="7706801" cy="3105583"/>
          </a:xfrm>
          <a:prstGeom prst="rect">
            <a:avLst/>
          </a:prstGeom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texte et objectifs du document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>
          <a:xfrm>
            <a:off x="1736989" y="1124744"/>
            <a:ext cx="7740860" cy="4465637"/>
          </a:xfrm>
        </p:spPr>
        <p:txBody>
          <a:bodyPr/>
          <a:lstStyle/>
          <a:p>
            <a:pPr marL="174625" indent="-174625" algn="just">
              <a:spcBef>
                <a:spcPts val="1200"/>
              </a:spcBef>
              <a:buClr>
                <a:srgbClr val="002060"/>
              </a:buClr>
              <a:defRPr/>
            </a:pPr>
            <a:r>
              <a:rPr lang="fr-FR" altLang="fr-FR" dirty="0">
                <a:solidFill>
                  <a:srgbClr val="002060"/>
                </a:solidFill>
              </a:rPr>
              <a:t>Dans le cadre du projet d’appui à la modernisation de la fonction RH, l</a:t>
            </a:r>
            <a:r>
              <a:rPr lang="fr-FR" dirty="0">
                <a:solidFill>
                  <a:srgbClr val="002060"/>
                </a:solidFill>
              </a:rPr>
              <a:t>e COPIL métier du 8 octobre 2014 a décidé </a:t>
            </a:r>
            <a:r>
              <a:rPr lang="fr-FR" b="1" dirty="0">
                <a:solidFill>
                  <a:srgbClr val="002060"/>
                </a:solidFill>
              </a:rPr>
              <a:t>d’initier</a:t>
            </a:r>
            <a:r>
              <a:rPr lang="fr-FR" altLang="fr-FR" b="1" dirty="0">
                <a:solidFill>
                  <a:srgbClr val="002060"/>
                </a:solidFill>
              </a:rPr>
              <a:t> un groupe de travail afin de constituer la bibliothèque des actes administratifs</a:t>
            </a:r>
            <a:r>
              <a:rPr lang="fr-FR" altLang="fr-FR" dirty="0">
                <a:solidFill>
                  <a:srgbClr val="002060"/>
                </a:solidFill>
              </a:rPr>
              <a:t>. Cette démarche a été, dans un premier temps, </a:t>
            </a:r>
            <a:r>
              <a:rPr lang="fr-FR" dirty="0">
                <a:solidFill>
                  <a:srgbClr val="002060"/>
                </a:solidFill>
              </a:rPr>
              <a:t>initiée avec les ministères clients de RenoiRH, ces derniers disposant déjà d’un cadre de travail bien établi avec le CISIRH. </a:t>
            </a:r>
          </a:p>
          <a:p>
            <a:pPr marL="174625" indent="-174625" algn="just">
              <a:spcBef>
                <a:spcPts val="1200"/>
              </a:spcBef>
              <a:buClr>
                <a:srgbClr val="002060"/>
              </a:buClr>
              <a:defRPr/>
            </a:pPr>
            <a:r>
              <a:rPr lang="fr-FR" dirty="0">
                <a:solidFill>
                  <a:srgbClr val="002060"/>
                </a:solidFill>
              </a:rPr>
              <a:t>Le groupe de travail bénéficie de la participation permanente de la DGAFP, du bureau CE-2A de la DGFIP et de la validation du SRE.</a:t>
            </a:r>
          </a:p>
          <a:p>
            <a:pPr marL="174625" indent="-174625" algn="just">
              <a:spcBef>
                <a:spcPts val="1200"/>
              </a:spcBef>
              <a:buClr>
                <a:srgbClr val="002060"/>
              </a:buClr>
              <a:defRPr/>
            </a:pPr>
            <a:r>
              <a:rPr lang="fr-FR" dirty="0">
                <a:solidFill>
                  <a:srgbClr val="002060"/>
                </a:solidFill>
              </a:rPr>
              <a:t>Représenter de manière logique et structurée l’état des lieux de la production des modèles d’actes administratifs</a:t>
            </a:r>
            <a:r>
              <a:rPr lang="fr-FR" i="1" dirty="0">
                <a:solidFill>
                  <a:srgbClr val="002060"/>
                </a:solidFill>
              </a:rPr>
              <a:t>.</a:t>
            </a:r>
          </a:p>
          <a:p>
            <a:pPr marL="0" indent="0" algn="just">
              <a:spcBef>
                <a:spcPts val="1200"/>
              </a:spcBef>
              <a:buClr>
                <a:srgbClr val="002060"/>
              </a:buClr>
              <a:buNone/>
              <a:defRPr/>
            </a:pPr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6" name="Pentagon 5"/>
          <p:cNvSpPr/>
          <p:nvPr/>
        </p:nvSpPr>
        <p:spPr bwMode="auto">
          <a:xfrm>
            <a:off x="343916" y="1592796"/>
            <a:ext cx="1404728" cy="61555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ontexte</a:t>
            </a:r>
          </a:p>
        </p:txBody>
      </p:sp>
      <p:sp>
        <p:nvSpPr>
          <p:cNvPr id="9" name="Pentagon 5"/>
          <p:cNvSpPr/>
          <p:nvPr/>
        </p:nvSpPr>
        <p:spPr bwMode="auto">
          <a:xfrm>
            <a:off x="308484" y="3140968"/>
            <a:ext cx="1512740" cy="61555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Objectifs</a:t>
            </a:r>
          </a:p>
        </p:txBody>
      </p:sp>
      <p:pic>
        <p:nvPicPr>
          <p:cNvPr id="8" name="Image 1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0F1F3"/>
              </a:clrFrom>
              <a:clrTo>
                <a:srgbClr val="F0F1F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03" r="7204" b="12483"/>
          <a:stretch>
            <a:fillRect/>
          </a:stretch>
        </p:blipFill>
        <p:spPr bwMode="auto">
          <a:xfrm>
            <a:off x="681038" y="3571677"/>
            <a:ext cx="504825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21282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975350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56989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178935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93004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68717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89198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64604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61517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409275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114927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fr-FR" dirty="0"/>
              <a:t>Mise à jour du document et contacts</a:t>
            </a:r>
            <a:endParaRPr lang="fr-FR" altLang="fr-FR" dirty="0"/>
          </a:p>
        </p:txBody>
      </p:sp>
      <p:sp>
        <p:nvSpPr>
          <p:cNvPr id="11" name="Espace réservé du contenu 1"/>
          <p:cNvSpPr>
            <a:spLocks noGrp="1"/>
          </p:cNvSpPr>
          <p:nvPr>
            <p:ph idx="1"/>
          </p:nvPr>
        </p:nvSpPr>
        <p:spPr>
          <a:xfrm>
            <a:off x="2108684" y="1196752"/>
            <a:ext cx="7381392" cy="3492388"/>
          </a:xfrm>
        </p:spPr>
        <p:txBody>
          <a:bodyPr/>
          <a:lstStyle/>
          <a:p>
            <a:pPr marL="174625" indent="-174625">
              <a:spcBef>
                <a:spcPts val="1200"/>
              </a:spcBef>
            </a:pPr>
            <a:r>
              <a:rPr lang="fr-FR" sz="1200" i="1" dirty="0">
                <a:solidFill>
                  <a:srgbClr val="002060"/>
                </a:solidFill>
              </a:rPr>
              <a:t>Le document sera mis à jour en suivant le rythme de publication du Noyau RH FPE en fonction :</a:t>
            </a:r>
          </a:p>
          <a:p>
            <a:pPr marL="685800" lvl="1" indent="-228600">
              <a:spcBef>
                <a:spcPts val="1200"/>
              </a:spcBef>
              <a:buFont typeface="Wingdings" pitchFamily="2" charset="2"/>
              <a:buChar char="ü"/>
            </a:pPr>
            <a:r>
              <a:rPr lang="fr-FR" sz="1200" i="1" dirty="0">
                <a:solidFill>
                  <a:srgbClr val="002060"/>
                </a:solidFill>
              </a:rPr>
              <a:t>de la </a:t>
            </a:r>
            <a:r>
              <a:rPr lang="fr-FR" sz="1200" b="1" i="1" dirty="0">
                <a:solidFill>
                  <a:srgbClr val="002060"/>
                </a:solidFill>
              </a:rPr>
              <a:t>veille juridique </a:t>
            </a:r>
            <a:r>
              <a:rPr lang="fr-FR" sz="1200" i="1" dirty="0">
                <a:solidFill>
                  <a:srgbClr val="002060"/>
                </a:solidFill>
              </a:rPr>
              <a:t>(nouveaux textes impactant les modèles d’actes) ;</a:t>
            </a:r>
          </a:p>
          <a:p>
            <a:pPr marL="685800" lvl="1" indent="-228600">
              <a:spcBef>
                <a:spcPts val="1200"/>
              </a:spcBef>
              <a:buFont typeface="Wingdings" pitchFamily="2" charset="2"/>
              <a:buChar char="ü"/>
            </a:pPr>
            <a:r>
              <a:rPr lang="fr-FR" sz="1200" i="1" dirty="0">
                <a:solidFill>
                  <a:srgbClr val="002060"/>
                </a:solidFill>
              </a:rPr>
              <a:t>des </a:t>
            </a:r>
            <a:r>
              <a:rPr lang="fr-FR" sz="1200" b="1" i="1" dirty="0">
                <a:solidFill>
                  <a:srgbClr val="002060"/>
                </a:solidFill>
              </a:rPr>
              <a:t>modèles validés dans le cadre des GT </a:t>
            </a:r>
            <a:r>
              <a:rPr lang="fr-FR" sz="1200" i="1" dirty="0">
                <a:solidFill>
                  <a:srgbClr val="002060"/>
                </a:solidFill>
              </a:rPr>
              <a:t>interministériels bibliothèque des actes et </a:t>
            </a:r>
            <a:r>
              <a:rPr lang="fr-FR" sz="1200" b="1" i="1" dirty="0">
                <a:solidFill>
                  <a:srgbClr val="002060"/>
                </a:solidFill>
              </a:rPr>
              <a:t>via</a:t>
            </a:r>
            <a:r>
              <a:rPr lang="fr-FR" sz="1200" i="1" dirty="0">
                <a:solidFill>
                  <a:srgbClr val="002060"/>
                </a:solidFill>
              </a:rPr>
              <a:t> </a:t>
            </a:r>
            <a:r>
              <a:rPr lang="fr-FR" sz="1200" b="1" i="1" dirty="0">
                <a:solidFill>
                  <a:srgbClr val="002060"/>
                </a:solidFill>
              </a:rPr>
              <a:t>l’espace de validation à distance des ministres: l’espace collaboratif </a:t>
            </a:r>
            <a:r>
              <a:rPr lang="fr-FR" sz="1200" b="1" i="1" dirty="0" err="1">
                <a:solidFill>
                  <a:srgbClr val="002060"/>
                </a:solidFill>
              </a:rPr>
              <a:t>hOPPER</a:t>
            </a:r>
            <a:r>
              <a:rPr lang="fr-FR" sz="1200" b="1" i="1" dirty="0">
                <a:solidFill>
                  <a:srgbClr val="002060"/>
                </a:solidFill>
              </a:rPr>
              <a:t>.</a:t>
            </a:r>
          </a:p>
          <a:p>
            <a:pPr marL="174625" indent="-174625">
              <a:spcBef>
                <a:spcPts val="1200"/>
              </a:spcBef>
            </a:pPr>
            <a:r>
              <a:rPr lang="fr-FR" sz="1200" i="1" dirty="0">
                <a:solidFill>
                  <a:srgbClr val="002060"/>
                </a:solidFill>
              </a:rPr>
              <a:t>A noter que la publication d’un texte impactant les modèles d’actes ne peut pas être prise en compte immédiatement. A ce titre, il est nécessaire d’être vigilant lors de la publication de nouveaux textes et d’attendre une nouvelle version du présent document.</a:t>
            </a:r>
          </a:p>
          <a:p>
            <a:pPr marL="0" indent="0">
              <a:spcBef>
                <a:spcPts val="1200"/>
              </a:spcBef>
              <a:buNone/>
            </a:pPr>
            <a:endParaRPr lang="fr-FR" sz="1200" i="1" dirty="0">
              <a:solidFill>
                <a:srgbClr val="002060"/>
              </a:solidFill>
            </a:endParaRPr>
          </a:p>
          <a:p>
            <a:pPr marL="174625" indent="-174625">
              <a:spcBef>
                <a:spcPts val="1200"/>
              </a:spcBef>
            </a:pPr>
            <a:r>
              <a:rPr lang="fr-FR" sz="1200" b="1" i="1" dirty="0">
                <a:solidFill>
                  <a:srgbClr val="002060"/>
                </a:solidFill>
              </a:rPr>
              <a:t>Bureau de l’Analyse Réglementaire et des Référentiels Interministériels / Pôle Simplification et Veille Réglementaire :</a:t>
            </a: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1F3B73"/>
                </a:solidFill>
              </a:rPr>
              <a:t>Stéphanie ARUMUGAM (</a:t>
            </a:r>
            <a:r>
              <a:rPr lang="fr-FR" sz="1200" b="1" i="1" dirty="0">
                <a:solidFill>
                  <a:srgbClr val="002060"/>
                </a:solidFill>
              </a:rPr>
              <a:t>contact opérationnel) </a:t>
            </a:r>
            <a:r>
              <a:rPr lang="fr-FR" sz="1200" b="1" i="1" dirty="0">
                <a:solidFill>
                  <a:srgbClr val="002060"/>
                </a:solidFill>
                <a:hlinkClick r:id="rId2"/>
              </a:rPr>
              <a:t>stephanie.arumugam@finances.gouv.fr</a:t>
            </a:r>
            <a:endParaRPr lang="fr-FR" sz="1200" b="1" i="1" dirty="0">
              <a:solidFill>
                <a:srgbClr val="1F3B73"/>
              </a:solidFill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ginie </a:t>
            </a:r>
            <a:r>
              <a:rPr lang="fr-FR" sz="1200" b="1" i="1" dirty="0">
                <a:solidFill>
                  <a:srgbClr val="1F3B73"/>
                </a:solidFill>
              </a:rPr>
              <a:t>LENTIGNAC (</a:t>
            </a:r>
            <a:r>
              <a:rPr lang="fr-FR" sz="1200" b="1" i="1" dirty="0">
                <a:solidFill>
                  <a:srgbClr val="002060"/>
                </a:solidFill>
              </a:rPr>
              <a:t>contact opérationnel) </a:t>
            </a:r>
            <a:r>
              <a:rPr lang="fr-FR" sz="1200" b="1" i="1" dirty="0">
                <a:solidFill>
                  <a:srgbClr val="002060"/>
                </a:solidFill>
                <a:hlinkClick r:id="rId2"/>
              </a:rPr>
              <a:t>virginie.lentignac@finances.gouv.fr</a:t>
            </a:r>
            <a:endParaRPr lang="fr-FR" sz="1200" b="1" i="1" dirty="0">
              <a:solidFill>
                <a:srgbClr val="1F3B73"/>
              </a:solidFill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lig LE GRAND (contact opérationnel) </a:t>
            </a: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kelig.le-grand@finances.gouv.fr</a:t>
            </a:r>
            <a:endParaRPr lang="fr-FR" sz="12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wa MOUSSIF (contact opérationnel) </a:t>
            </a: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marwa.moussif@finances.gouv.fr</a:t>
            </a:r>
            <a:endParaRPr lang="fr-FR" sz="12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</a:rPr>
              <a:t>BALF : </a:t>
            </a:r>
            <a:r>
              <a:rPr lang="fr-FR" sz="1200" b="1" i="1" dirty="0">
                <a:solidFill>
                  <a:srgbClr val="002060"/>
                </a:solidFill>
                <a:hlinkClick r:id="rId5"/>
              </a:rPr>
              <a:t>L-CISIRH-BARRI-BDA@finances.gouv.fr</a:t>
            </a:r>
            <a:endParaRPr lang="fr-FR" sz="1200" b="1" i="1" dirty="0">
              <a:solidFill>
                <a:srgbClr val="002060"/>
              </a:solidFill>
            </a:endParaRPr>
          </a:p>
          <a:p>
            <a:pPr marL="0" indent="0">
              <a:spcBef>
                <a:spcPts val="1200"/>
              </a:spcBef>
              <a:buNone/>
            </a:pPr>
            <a:endParaRPr lang="fr-FR" sz="1200" i="1" dirty="0">
              <a:solidFill>
                <a:srgbClr val="002060"/>
              </a:solidFill>
            </a:endParaRPr>
          </a:p>
        </p:txBody>
      </p:sp>
      <p:sp>
        <p:nvSpPr>
          <p:cNvPr id="5" name="Pentagon 5"/>
          <p:cNvSpPr/>
          <p:nvPr/>
        </p:nvSpPr>
        <p:spPr bwMode="auto">
          <a:xfrm>
            <a:off x="437861" y="1643895"/>
            <a:ext cx="1548172" cy="61555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ise à jour du document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2640" y="2492896"/>
            <a:ext cx="454599" cy="520810"/>
          </a:xfrm>
          <a:prstGeom prst="rect">
            <a:avLst/>
          </a:prstGeom>
        </p:spPr>
      </p:pic>
      <p:sp>
        <p:nvSpPr>
          <p:cNvPr id="7" name="Pentagone 6"/>
          <p:cNvSpPr/>
          <p:nvPr/>
        </p:nvSpPr>
        <p:spPr bwMode="auto">
          <a:xfrm>
            <a:off x="428626" y="3645024"/>
            <a:ext cx="1557407" cy="612068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084" y="3783367"/>
            <a:ext cx="1191208" cy="32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67277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241586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88693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12773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68492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06693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10148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69607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6066079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298928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65717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557019" y="1039493"/>
            <a:ext cx="8772848" cy="1309387"/>
          </a:xfrm>
        </p:spPr>
        <p:txBody>
          <a:bodyPr/>
          <a:lstStyle/>
          <a:p>
            <a:pPr marL="268287" lvl="1" indent="0">
              <a:spcAft>
                <a:spcPts val="0"/>
              </a:spcAft>
              <a:buNone/>
            </a:pPr>
            <a:endParaRPr lang="fr-FR" b="1" dirty="0"/>
          </a:p>
          <a:p>
            <a:r>
              <a:rPr lang="fr-FR" b="1" dirty="0"/>
              <a:t>Le congé CITIS substitue certains actes </a:t>
            </a:r>
            <a:r>
              <a:rPr lang="fr-FR" dirty="0"/>
              <a:t>de la bibliothèque des actes (pour la population Titulaires) répertoriés ci-dessous :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endParaRPr lang="fr-FR" b="1" dirty="0"/>
          </a:p>
          <a:p>
            <a:pPr marL="268287" lvl="1" indent="0">
              <a:buNone/>
            </a:pPr>
            <a:endParaRPr lang="fr-FR" b="1" dirty="0"/>
          </a:p>
          <a:p>
            <a:pPr lvl="1"/>
            <a:endParaRPr lang="fr-FR" b="1" dirty="0"/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formations utiles (1/2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2E213F33-44B3-4E5A-874B-1241FE46FE4F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788552"/>
              </p:ext>
            </p:extLst>
          </p:nvPr>
        </p:nvGraphicFramePr>
        <p:xfrm>
          <a:off x="1603856" y="2816932"/>
          <a:ext cx="6305741" cy="191668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663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393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Code nature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Libellé de l'acte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63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durée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_ initial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44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durée fractionné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77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>
                          <a:effectLst/>
                        </a:rPr>
                        <a:t>CLM fractionné pathologie contr dans exerc fnct initial (T)</a:t>
                      </a:r>
                      <a:endParaRPr lang="fr-FR" sz="100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78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maladie fractionné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 prolongation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82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maladie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83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maladie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 renouvellement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84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durée fractionné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 prolongation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cap="all" dirty="0">
                          <a:effectLst/>
                        </a:rPr>
                        <a:t>INTABS0081 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ngé longue durée pathologie </a:t>
                      </a:r>
                      <a:r>
                        <a:rPr lang="fr-FR" sz="1100" dirty="0" err="1">
                          <a:effectLst/>
                        </a:rPr>
                        <a:t>contr</a:t>
                      </a:r>
                      <a:r>
                        <a:rPr lang="fr-FR" sz="1100" dirty="0">
                          <a:effectLst/>
                        </a:rPr>
                        <a:t> dans </a:t>
                      </a:r>
                      <a:r>
                        <a:rPr lang="fr-FR" sz="1100" dirty="0" err="1">
                          <a:effectLst/>
                        </a:rPr>
                        <a:t>exerc</a:t>
                      </a:r>
                      <a:r>
                        <a:rPr lang="fr-FR" sz="1100" dirty="0">
                          <a:effectLst/>
                        </a:rPr>
                        <a:t> </a:t>
                      </a:r>
                      <a:r>
                        <a:rPr lang="fr-FR" sz="1100" dirty="0" err="1">
                          <a:effectLst/>
                        </a:rPr>
                        <a:t>fnct</a:t>
                      </a:r>
                      <a:r>
                        <a:rPr lang="fr-FR" sz="1100" dirty="0">
                          <a:effectLst/>
                        </a:rPr>
                        <a:t> prolongation (T)</a:t>
                      </a:r>
                      <a:endParaRPr lang="fr-FR" sz="1000" dirty="0">
                        <a:effectLst/>
                        <a:latin typeface="Tw Cen MT" panose="020B0602020104020603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8" name="ZoneTexte 7"/>
          <p:cNvSpPr txBox="1"/>
          <p:nvPr/>
        </p:nvSpPr>
        <p:spPr>
          <a:xfrm>
            <a:off x="688907" y="5690436"/>
            <a:ext cx="86409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dirty="0">
                <a:solidFill>
                  <a:srgbClr val="1F3B73"/>
                </a:solidFill>
                <a:latin typeface="Arial (Corps)"/>
              </a:rPr>
              <a:t>NB : </a:t>
            </a:r>
            <a:r>
              <a:rPr lang="fr-FR" sz="1000" dirty="0">
                <a:solidFill>
                  <a:srgbClr val="1F3B73"/>
                </a:solidFill>
                <a:latin typeface="Arial (Corps)"/>
              </a:rPr>
              <a:t>Cependant, ces actes demeurent valables si la décision du comité médical est antérieure à la date du 24 février 2019, date d’entrée en vigueur du décret n° 2019-122 du 21 février 2019 relatif au congé pour invalidité temporaire imputable au service dans la Fonction publique de l'Etat.</a:t>
            </a:r>
          </a:p>
          <a:p>
            <a:endParaRPr lang="fr-FR" sz="1000" b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233" y="1124744"/>
            <a:ext cx="256786" cy="25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08879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182933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4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5469628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262465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4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099506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4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563281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986879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440417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4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3350351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166124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0914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28626" y="1124744"/>
            <a:ext cx="9161523" cy="2484747"/>
          </a:xfrm>
        </p:spPr>
        <p:txBody>
          <a:bodyPr/>
          <a:lstStyle/>
          <a:p>
            <a:pPr marL="0" indent="0">
              <a:buNone/>
            </a:pPr>
            <a:endParaRPr lang="fr-FR" dirty="0"/>
          </a:p>
          <a:p>
            <a:endParaRPr lang="fr-FR" b="1" dirty="0"/>
          </a:p>
          <a:p>
            <a:pPr marL="268287" lvl="1" indent="0">
              <a:buNone/>
            </a:pPr>
            <a:endParaRPr lang="fr-FR" b="1" dirty="0"/>
          </a:p>
          <a:p>
            <a:pPr lvl="1"/>
            <a:endParaRPr lang="fr-FR" b="1" dirty="0"/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formations utiles (2/2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2E213F33-44B3-4E5A-874B-1241FE46FE4F}" type="slidenum">
              <a:rPr lang="fr-FR" smtClean="0"/>
              <a:pPr>
                <a:defRPr/>
              </a:pPr>
              <a:t>5</a:t>
            </a:fld>
            <a:endParaRPr lang="fr-FR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233" y="1139868"/>
            <a:ext cx="256786" cy="257783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557019" y="1088740"/>
            <a:ext cx="8824474" cy="549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fr-FR" sz="1600" b="1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actes liés à la fin d’un congé (sauf exception) ne sont plus à produire puisque les actes de demande et de prolongation/renouvellement portent déjà les dates de fin de congés. En effet, la DGAFP a préconisé de ne plus notifier la fin de certains congés aux agents, ce type d’acte étant considéré inutile. </a:t>
            </a:r>
          </a:p>
          <a:p>
            <a:pPr lvl="0" algn="just"/>
            <a:endParaRPr lang="fr-FR" sz="800" b="1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r>
              <a:rPr lang="fr-FR" sz="1600" b="1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ès échange avec la communauté interministérielle, cette préconisation a été validée lors du GT BDA du 12 septembre 2019.</a:t>
            </a:r>
            <a:endParaRPr lang="fr-FR" sz="16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 exemple, l’acte suivant ne sera plus produit dans la BDA : </a:t>
            </a:r>
          </a:p>
          <a:p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ABS0019 - </a:t>
            </a:r>
            <a:r>
              <a:rPr lang="fr-FR" sz="1600" dirty="0">
                <a:solidFill>
                  <a:srgbClr val="004272"/>
                </a:solidFill>
              </a:rPr>
              <a:t>Congé présence parental fin (T) </a:t>
            </a:r>
            <a:endParaRPr lang="fr-FR" sz="16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utefois, </a:t>
            </a:r>
            <a:r>
              <a:rPr lang="fr-FR" sz="1600" b="1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cas de retour anticipé </a:t>
            </a:r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endParaRPr lang="fr-FR" sz="16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gestionnaires auront la possibilité d’utiliser l’acte portant reprise suite à congé avec impact rémunération _ INTABS0091 (T) </a:t>
            </a:r>
          </a:p>
          <a:p>
            <a:endParaRPr lang="fr-FR" sz="16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même, pour les congés sans impact sur rémunération, ils pourront utiliser l’acte :</a:t>
            </a:r>
          </a:p>
          <a:p>
            <a:endParaRPr lang="fr-FR" sz="5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5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ABS0093 pour reprise anticipée des fonctions suite à congé / absence sans impact rémunération - (T).</a:t>
            </a:r>
          </a:p>
          <a:p>
            <a:endParaRPr lang="fr-FR" sz="16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50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44118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890769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5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079793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5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0243367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5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657735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5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806631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5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432847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5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5531286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5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6228558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5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8082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ésentation du livrab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2E213F33-44B3-4E5A-874B-1241FE46FE4F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  <p:sp>
        <p:nvSpPr>
          <p:cNvPr id="6" name="Rectangle 5"/>
          <p:cNvSpPr/>
          <p:nvPr/>
        </p:nvSpPr>
        <p:spPr bwMode="auto">
          <a:xfrm>
            <a:off x="3665190" y="2283874"/>
            <a:ext cx="1980000" cy="198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ACRO-PROCESSUS</a:t>
            </a:r>
          </a:p>
        </p:txBody>
      </p:sp>
      <p:sp>
        <p:nvSpPr>
          <p:cNvPr id="7" name="Pentagon 65"/>
          <p:cNvSpPr/>
          <p:nvPr/>
        </p:nvSpPr>
        <p:spPr bwMode="auto">
          <a:xfrm>
            <a:off x="2060551" y="1272324"/>
            <a:ext cx="2088232" cy="396044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>
                <a:solidFill>
                  <a:srgbClr val="004272"/>
                </a:solidFill>
                <a:latin typeface="+mn-lt"/>
              </a:rPr>
              <a:t>Structure du livrable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687592" y="2747141"/>
            <a:ext cx="1991963" cy="198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OCESSUS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3680897" y="4389427"/>
            <a:ext cx="1980000" cy="198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EVENEMENTS</a:t>
            </a:r>
          </a:p>
        </p:txBody>
      </p:sp>
      <p:sp>
        <p:nvSpPr>
          <p:cNvPr id="10" name="Down Arrow 71"/>
          <p:cNvSpPr/>
          <p:nvPr/>
        </p:nvSpPr>
        <p:spPr bwMode="auto">
          <a:xfrm>
            <a:off x="4574036" y="3141166"/>
            <a:ext cx="288032" cy="284257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" name="TextBox 39"/>
          <p:cNvSpPr txBox="1"/>
          <p:nvPr/>
        </p:nvSpPr>
        <p:spPr>
          <a:xfrm>
            <a:off x="5853100" y="1995119"/>
            <a:ext cx="3636975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spcAft>
                <a:spcPts val="600"/>
              </a:spcAft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La diapositive n°7 présente l’ensemble des événements de gestion composant la carrière d’un agent  titulaire de la FPE. Les événements sont classés en macro-processus.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Il suffit de cliquer (en mode diaporama) sur un des processus pour accéder à la diapositive de l’événement correspondant.</a:t>
            </a:r>
          </a:p>
        </p:txBody>
      </p:sp>
      <p:sp>
        <p:nvSpPr>
          <p:cNvPr id="12" name="TextBox 40"/>
          <p:cNvSpPr txBox="1"/>
          <p:nvPr/>
        </p:nvSpPr>
        <p:spPr>
          <a:xfrm>
            <a:off x="5853100" y="4303987"/>
            <a:ext cx="36369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Pour chaque événement, les principaux cas sont détaillés.</a:t>
            </a:r>
          </a:p>
        </p:txBody>
      </p:sp>
      <p:cxnSp>
        <p:nvCxnSpPr>
          <p:cNvPr id="13" name="Straight Connector 42"/>
          <p:cNvCxnSpPr/>
          <p:nvPr/>
        </p:nvCxnSpPr>
        <p:spPr bwMode="auto">
          <a:xfrm>
            <a:off x="5853100" y="2100416"/>
            <a:ext cx="0" cy="944337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43"/>
          <p:cNvCxnSpPr/>
          <p:nvPr/>
        </p:nvCxnSpPr>
        <p:spPr bwMode="auto">
          <a:xfrm>
            <a:off x="5853100" y="4323509"/>
            <a:ext cx="0" cy="324000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" name="Picture 50">
            <a:hlinkClick r:id="rId2" action="ppaction://hlinksldjump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47980" y="3502943"/>
            <a:ext cx="465833" cy="32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91"/>
          <p:cNvSpPr txBox="1"/>
          <p:nvPr/>
        </p:nvSpPr>
        <p:spPr>
          <a:xfrm>
            <a:off x="5853100" y="3360447"/>
            <a:ext cx="36369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Il est possible de revenir au sommaire en cliquant sur l’image en haut à droite de chaque diapositive (en mode diaporama).</a:t>
            </a:r>
          </a:p>
        </p:txBody>
      </p:sp>
      <p:cxnSp>
        <p:nvCxnSpPr>
          <p:cNvPr id="17" name="Straight Connector 92"/>
          <p:cNvCxnSpPr/>
          <p:nvPr/>
        </p:nvCxnSpPr>
        <p:spPr bwMode="auto">
          <a:xfrm>
            <a:off x="5853100" y="3360447"/>
            <a:ext cx="0" cy="48568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Arrow Connector 94"/>
          <p:cNvCxnSpPr/>
          <p:nvPr/>
        </p:nvCxnSpPr>
        <p:spPr bwMode="auto">
          <a:xfrm>
            <a:off x="4088760" y="3636821"/>
            <a:ext cx="1590795" cy="0"/>
          </a:xfrm>
          <a:prstGeom prst="straightConnector1">
            <a:avLst/>
          </a:prstGeom>
          <a:noFill/>
          <a:ln w="12700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19" name="Image 18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26" y="3914445"/>
            <a:ext cx="3060068" cy="2366899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accent2">
                <a:lumMod val="75000"/>
              </a:schemeClr>
            </a:solidFill>
          </a:ln>
        </p:spPr>
      </p:pic>
      <p:cxnSp>
        <p:nvCxnSpPr>
          <p:cNvPr id="20" name="Straight Arrow Connector 79"/>
          <p:cNvCxnSpPr>
            <a:endCxn id="9" idx="1"/>
          </p:cNvCxnSpPr>
          <p:nvPr/>
        </p:nvCxnSpPr>
        <p:spPr bwMode="auto">
          <a:xfrm>
            <a:off x="2060551" y="4488438"/>
            <a:ext cx="1620346" cy="0"/>
          </a:xfrm>
          <a:prstGeom prst="straightConnector1">
            <a:avLst/>
          </a:prstGeom>
          <a:noFill/>
          <a:ln w="12700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21" name="Image 20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027" y="1617761"/>
            <a:ext cx="2569375" cy="177879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cxnSp>
        <p:nvCxnSpPr>
          <p:cNvPr id="22" name="Connecteur en angle 21"/>
          <p:cNvCxnSpPr/>
          <p:nvPr/>
        </p:nvCxnSpPr>
        <p:spPr bwMode="auto">
          <a:xfrm rot="5400000">
            <a:off x="2127315" y="2883555"/>
            <a:ext cx="1224000" cy="792000"/>
          </a:xfrm>
          <a:prstGeom prst="bentConnector3">
            <a:avLst>
              <a:gd name="adj1" fmla="val 59595"/>
            </a:avLst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3" name="Connecteur droit avec flèche 22"/>
          <p:cNvCxnSpPr>
            <a:endCxn id="6" idx="1"/>
          </p:cNvCxnSpPr>
          <p:nvPr/>
        </p:nvCxnSpPr>
        <p:spPr bwMode="auto">
          <a:xfrm flipV="1">
            <a:off x="3064817" y="2382885"/>
            <a:ext cx="600373" cy="290"/>
          </a:xfrm>
          <a:prstGeom prst="straightConnector1">
            <a:avLst/>
          </a:prstGeom>
          <a:noFill/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4" name="Connecteur droit avec flèche 23"/>
          <p:cNvCxnSpPr>
            <a:endCxn id="8" idx="1"/>
          </p:cNvCxnSpPr>
          <p:nvPr/>
        </p:nvCxnSpPr>
        <p:spPr bwMode="auto">
          <a:xfrm>
            <a:off x="3014657" y="2846152"/>
            <a:ext cx="672935" cy="0"/>
          </a:xfrm>
          <a:prstGeom prst="straightConnector1">
            <a:avLst/>
          </a:prstGeom>
          <a:noFill/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Rectangle 24"/>
          <p:cNvSpPr/>
          <p:nvPr/>
        </p:nvSpPr>
        <p:spPr bwMode="auto">
          <a:xfrm>
            <a:off x="2432720" y="2657090"/>
            <a:ext cx="702595" cy="55172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3906" y="1088740"/>
            <a:ext cx="905649" cy="1058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55"/>
          <p:cNvSpPr txBox="1"/>
          <p:nvPr/>
        </p:nvSpPr>
        <p:spPr>
          <a:xfrm>
            <a:off x="5399557" y="5089388"/>
            <a:ext cx="298776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fr-FR" sz="1200" b="1" dirty="0">
                <a:solidFill>
                  <a:srgbClr val="004272"/>
                </a:solidFill>
                <a:latin typeface="+mn-lt"/>
              </a:rPr>
              <a:t>Lien pour accéder aux actes :</a:t>
            </a:r>
          </a:p>
          <a:p>
            <a:pPr marL="177800" indent="-177800">
              <a:buFont typeface="Arial" pitchFamily="34" charset="0"/>
              <a:buChar char="•"/>
            </a:pPr>
            <a:endParaRPr lang="fr-FR" sz="1200" b="1" dirty="0">
              <a:solidFill>
                <a:srgbClr val="004272"/>
              </a:solidFill>
              <a:latin typeface="+mn-lt"/>
            </a:endParaRPr>
          </a:p>
          <a:p>
            <a:pPr marL="177800" indent="-177800">
              <a:buFont typeface="Arial" pitchFamily="34" charset="0"/>
              <a:buChar char="•"/>
            </a:pPr>
            <a:endParaRPr lang="fr-FR" sz="1000" b="1" dirty="0">
              <a:solidFill>
                <a:srgbClr val="004272"/>
              </a:solidFill>
              <a:latin typeface="+mn-lt"/>
            </a:endParaRPr>
          </a:p>
          <a:p>
            <a:pPr marL="180975" lvl="1" indent="-95250">
              <a:buFont typeface="Arial" pitchFamily="34" charset="0"/>
              <a:buChar char="•"/>
            </a:pPr>
            <a:r>
              <a:rPr lang="fr-FR" sz="1200" b="1" dirty="0">
                <a:solidFill>
                  <a:srgbClr val="004272"/>
                </a:solidFill>
                <a:latin typeface="+mn-lt"/>
                <a:hlinkClick r:id="rId7"/>
              </a:rPr>
              <a:t>hOPPER</a:t>
            </a:r>
            <a:endParaRPr lang="fr-FR" sz="1200" b="1" dirty="0">
              <a:solidFill>
                <a:srgbClr val="004272"/>
              </a:solidFill>
              <a:latin typeface="+mn-lt"/>
            </a:endParaRPr>
          </a:p>
          <a:p>
            <a:pPr marL="180975" lvl="1" indent="-95250">
              <a:buFont typeface="Arial" pitchFamily="34" charset="0"/>
              <a:buChar char="•"/>
            </a:pPr>
            <a:endParaRPr lang="fr-FR" sz="1200" b="1" dirty="0">
              <a:solidFill>
                <a:srgbClr val="004272"/>
              </a:solidFill>
              <a:latin typeface="+mn-lt"/>
            </a:endParaRPr>
          </a:p>
          <a:p>
            <a:pPr marL="180975" lvl="1" indent="-95250">
              <a:buFont typeface="Arial" pitchFamily="34" charset="0"/>
              <a:buChar char="•"/>
            </a:pPr>
            <a:r>
              <a:rPr lang="fr-FR" sz="1200" b="1" dirty="0">
                <a:solidFill>
                  <a:srgbClr val="004272"/>
                </a:solidFill>
                <a:latin typeface="+mn-lt"/>
                <a:hlinkClick r:id="rId8"/>
              </a:rPr>
              <a:t>PISSARHHO</a:t>
            </a:r>
            <a:endParaRPr lang="fr-FR" sz="1200" b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28" name="Image 27"/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860" y="5624201"/>
            <a:ext cx="837870" cy="642946"/>
          </a:xfrm>
          <a:prstGeom prst="rect">
            <a:avLst/>
          </a:prstGeom>
        </p:spPr>
      </p:pic>
      <p:pic>
        <p:nvPicPr>
          <p:cNvPr id="30" name="Image 2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618" y="5887769"/>
            <a:ext cx="384186" cy="39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700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0597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4595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9A85D3FE-EDEE-4AA5-97F7-0CBDB0EF86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0210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Présentation Powerpoint diffusion interne">
  <a:themeElements>
    <a:clrScheme name="1_Présentation Powerpoint diffusion intern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ésentation Powerpoint diffusion interne">
      <a:majorFont>
        <a:latin typeface="Verdana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sz="1200" kern="0" dirty="0" err="1" smtClean="0">
            <a:solidFill>
              <a:srgbClr val="004272"/>
            </a:solidFill>
            <a:latin typeface="+mn-lt"/>
            <a:cs typeface="ＭＳ Ｐゴシック"/>
          </a:defRPr>
        </a:defPPr>
      </a:lstStyle>
    </a:spDef>
    <a:lnDef>
      <a:spPr bwMode="auto">
        <a:noFill/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dirty="0" smtClean="0">
            <a:solidFill>
              <a:srgbClr val="004272"/>
            </a:solidFill>
            <a:latin typeface="+mn-lt"/>
          </a:defRPr>
        </a:defPPr>
      </a:lstStyle>
    </a:txDef>
  </a:objectDefaults>
  <a:extraClrSchemeLst>
    <a:extraClrScheme>
      <a:clrScheme name="1_Présentation Powerpoint diffusion inter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922</TotalTime>
  <Words>883</Words>
  <Application>Microsoft Office PowerPoint</Application>
  <PresentationFormat>Format A4 (210 x 297 mm)</PresentationFormat>
  <Paragraphs>143</Paragraphs>
  <Slides>58</Slides>
  <Notes>23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8</vt:i4>
      </vt:variant>
    </vt:vector>
  </HeadingPairs>
  <TitlesOfParts>
    <vt:vector size="69" baseType="lpstr">
      <vt:lpstr>Arial</vt:lpstr>
      <vt:lpstr>Arial (Body)</vt:lpstr>
      <vt:lpstr>Arial (Corps)</vt:lpstr>
      <vt:lpstr>Calibri</vt:lpstr>
      <vt:lpstr>Courier New</vt:lpstr>
      <vt:lpstr>Tw Cen MT</vt:lpstr>
      <vt:lpstr>Verdana</vt:lpstr>
      <vt:lpstr>Wingdings</vt:lpstr>
      <vt:lpstr>Wingdings 2</vt:lpstr>
      <vt:lpstr>2_Présentation Powerpoint diffusion interne</vt:lpstr>
      <vt:lpstr>think-cell Slide</vt:lpstr>
      <vt:lpstr>CISIRH Bibliothèque des actes</vt:lpstr>
      <vt:lpstr>Contexte et objectifs du document</vt:lpstr>
      <vt:lpstr>Mise à jour du document et contacts</vt:lpstr>
      <vt:lpstr>Informations utiles (1/2)</vt:lpstr>
      <vt:lpstr>Informations utiles (2/2)</vt:lpstr>
      <vt:lpstr>Présentation du livrabl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Groupement Mc²i, Eurogroup, Trex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ui CISRH - Livret d'accueil des nouveaux arrivants</dc:title>
  <dc:subject>Livret d'accueil à l'attention des nouveaux arrivants</dc:subject>
  <dc:creator>Bastien Turpault (Trexia)</dc:creator>
  <cp:lastModifiedBy>LENTIGNAC Virginie</cp:lastModifiedBy>
  <cp:revision>7730</cp:revision>
  <cp:lastPrinted>2022-02-21T09:16:25Z</cp:lastPrinted>
  <dcterms:created xsi:type="dcterms:W3CDTF">2009-07-09T13:00:12Z</dcterms:created>
  <dcterms:modified xsi:type="dcterms:W3CDTF">2024-01-26T13:24:14Z</dcterms:modified>
</cp:coreProperties>
</file>